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drawings/drawing3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drawings/drawing4.xml" ContentType="application/vnd.openxmlformats-officedocument.drawingml.chartshapes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drawings/drawing5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1.bin" ContentType="application/vnd.openxmlformats-officedocument.oleObject"/>
  <Override PartName="/ppt/charts/chart11.xml" ContentType="application/vnd.openxmlformats-officedocument.drawingml.chart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4.xml" ContentType="application/vnd.openxmlformats-officedocument.drawingml.chart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2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embeddings/oleObject2.bin" ContentType="application/vnd.openxmlformats-officedocument.oleObject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318" r:id="rId2"/>
    <p:sldId id="320" r:id="rId3"/>
    <p:sldId id="324" r:id="rId4"/>
    <p:sldId id="325" r:id="rId5"/>
    <p:sldId id="326" r:id="rId6"/>
    <p:sldId id="328" r:id="rId7"/>
    <p:sldId id="329" r:id="rId8"/>
    <p:sldId id="322" r:id="rId9"/>
    <p:sldId id="323" r:id="rId10"/>
    <p:sldId id="340" r:id="rId11"/>
    <p:sldId id="583" r:id="rId12"/>
    <p:sldId id="345" r:id="rId13"/>
    <p:sldId id="346" r:id="rId14"/>
    <p:sldId id="347" r:id="rId15"/>
    <p:sldId id="348" r:id="rId16"/>
    <p:sldId id="584" r:id="rId17"/>
    <p:sldId id="352" r:id="rId18"/>
    <p:sldId id="353" r:id="rId19"/>
    <p:sldId id="363" r:id="rId20"/>
    <p:sldId id="585" r:id="rId21"/>
    <p:sldId id="371" r:id="rId22"/>
    <p:sldId id="372" r:id="rId23"/>
    <p:sldId id="376" r:id="rId24"/>
    <p:sldId id="586" r:id="rId25"/>
    <p:sldId id="381" r:id="rId26"/>
    <p:sldId id="383" r:id="rId27"/>
    <p:sldId id="387" r:id="rId28"/>
    <p:sldId id="404" r:id="rId29"/>
    <p:sldId id="405" r:id="rId30"/>
    <p:sldId id="424" r:id="rId31"/>
    <p:sldId id="589" r:id="rId32"/>
    <p:sldId id="426" r:id="rId33"/>
    <p:sldId id="440" r:id="rId34"/>
    <p:sldId id="441" r:id="rId35"/>
    <p:sldId id="443" r:id="rId36"/>
    <p:sldId id="453" r:id="rId37"/>
    <p:sldId id="454" r:id="rId38"/>
    <p:sldId id="471" r:id="rId39"/>
    <p:sldId id="472" r:id="rId40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52E"/>
    <a:srgbClr val="6C0000"/>
    <a:srgbClr val="9E0000"/>
    <a:srgbClr val="A7BB1A"/>
    <a:srgbClr val="2176BC"/>
    <a:srgbClr val="FF4D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73" autoAdjust="0"/>
    <p:restoredTop sz="94250" autoAdjust="0"/>
  </p:normalViewPr>
  <p:slideViewPr>
    <p:cSldViewPr showGuides="1">
      <p:cViewPr>
        <p:scale>
          <a:sx n="94" d="100"/>
          <a:sy n="94" d="100"/>
        </p:scale>
        <p:origin x="-960" y="-63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notesMaster" Target="notesMasters/notesMaster1.xml"/><Relationship Id="rId42" Type="http://schemas.openxmlformats.org/officeDocument/2006/relationships/printerSettings" Target="printerSettings/printerSettings1.bin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0.xlsx"/><Relationship Id="rId2" Type="http://schemas.openxmlformats.org/officeDocument/2006/relationships/chartUserShapes" Target="../drawings/drawing5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Relationship Id="rId2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Relationship Id="rId2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Relationship Id="rId2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7.xlsx"/><Relationship Id="rId2" Type="http://schemas.openxmlformats.org/officeDocument/2006/relationships/chartUserShapes" Target="../drawings/drawing4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400641025641024"/>
          <c:y val="0.00221238938053098"/>
          <c:w val="0.721153846153849"/>
          <c:h val="0.995575221238937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dPt>
            <c:idx val="0"/>
            <c:bubble3D val="0"/>
            <c:spPr>
              <a:solidFill>
                <a:srgbClr val="FF6600"/>
              </a:solidFill>
            </c:spPr>
          </c:dPt>
          <c:dPt>
            <c:idx val="1"/>
            <c:bubble3D val="0"/>
            <c:spPr>
              <a:solidFill>
                <a:srgbClr val="FF952E"/>
              </a:solidFill>
            </c:spPr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rgbClr val="7F7F7F"/>
              </a:solidFill>
            </c:spPr>
          </c:dPt>
          <c:dLbls>
            <c:dLbl>
              <c:idx val="0"/>
              <c:layout>
                <c:manualLayout>
                  <c:x val="0.00891664987764971"/>
                  <c:y val="-0.02579310183863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27,4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24837099325242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20,4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4</c:v>
                </c:pt>
                <c:pt idx="1">
                  <c:v>27.4</c:v>
                </c:pt>
                <c:pt idx="2">
                  <c:v>90.0</c:v>
                </c:pt>
                <c:pt idx="3">
                  <c:v>20.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raph 2</c:v>
                </c:pt>
              </c:strCache>
            </c:strRef>
          </c:tx>
          <c:dPt>
            <c:idx val="0"/>
            <c:bubble3D val="0"/>
            <c:spPr>
              <a:solidFill>
                <a:srgbClr val="FF6600"/>
              </a:solidFill>
            </c:spPr>
          </c:dPt>
          <c:dPt>
            <c:idx val="1"/>
            <c:bubble3D val="0"/>
            <c:spPr>
              <a:solidFill>
                <a:srgbClr val="FF952E"/>
              </a:solidFill>
            </c:spPr>
          </c:dPt>
          <c:dPt>
            <c:idx val="2"/>
            <c:bubble3D val="0"/>
            <c:spPr>
              <a:solidFill>
                <a:srgbClr val="BFBFBF"/>
              </a:solidFill>
            </c:spPr>
          </c:dPt>
          <c:dPt>
            <c:idx val="3"/>
            <c:bubble3D val="0"/>
            <c:spPr>
              <a:solidFill>
                <a:srgbClr val="7F7F7F"/>
              </a:solidFill>
            </c:spPr>
          </c:dPt>
          <c:dLbls>
            <c:dLbl>
              <c:idx val="0"/>
              <c:layout>
                <c:manualLayout>
                  <c:x val="0.0112418549662621"/>
                  <c:y val="0.01235061950026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38,6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31,6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Graph 3</c:v>
                </c:pt>
              </c:strCache>
            </c:strRef>
          </c:tx>
          <c:dPt>
            <c:idx val="0"/>
            <c:bubble3D val="0"/>
            <c:spPr>
              <a:solidFill>
                <a:srgbClr val="FF6600"/>
              </a:solidFill>
            </c:spPr>
          </c:dPt>
          <c:dPt>
            <c:idx val="1"/>
            <c:bubble3D val="0"/>
            <c:spPr>
              <a:solidFill>
                <a:srgbClr val="FF952E"/>
              </a:solidFill>
            </c:spPr>
          </c:dPt>
          <c:dPt>
            <c:idx val="2"/>
            <c:bubble3D val="0"/>
            <c:spPr>
              <a:solidFill>
                <a:srgbClr val="BFBFBF"/>
              </a:solidFill>
            </c:spPr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Lbls>
            <c:dLbl>
              <c:idx val="0"/>
              <c:layout>
                <c:manualLayout>
                  <c:x val="-0.0247320809257765"/>
                  <c:y val="-0.03705185850080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46,9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24837099325241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43,9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.0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10"/>
      </c:doughnutChart>
    </c:plotArea>
    <c:legend>
      <c:legendPos val="r"/>
      <c:layout>
        <c:manualLayout>
          <c:xMode val="edge"/>
          <c:yMode val="edge"/>
          <c:x val="0.736249734271504"/>
          <c:y val="0.560629891252393"/>
          <c:w val="0.223365059386372"/>
          <c:h val="0.214601769911504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40206185567"/>
          <c:y val="0.0240700218818381"/>
          <c:w val="0.87113402061856"/>
          <c:h val="0.855579868708972"/>
        </c:manualLayout>
      </c:layout>
      <c:barChart>
        <c:barDir val="col"/>
        <c:grouping val="percentStacked"/>
        <c:varyColors val="0"/>
        <c:ser>
          <c:idx val="3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5346">
              <a:noFill/>
            </a:ln>
          </c:spPr>
          <c:invertIfNegative val="0"/>
          <c:dLbls>
            <c:spPr>
              <a:noFill/>
              <a:ln w="25346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27</c:v>
                </c:pt>
                <c:pt idx="1">
                  <c:v>0.330000000000001</c:v>
                </c:pt>
                <c:pt idx="2">
                  <c:v>0.640000000000003</c:v>
                </c:pt>
                <c:pt idx="3">
                  <c:v>0.310000000000001</c:v>
                </c:pt>
              </c:numCache>
            </c:numRef>
          </c:val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Group 2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 w="25346">
              <a:noFill/>
            </a:ln>
          </c:spPr>
          <c:invertIfNegative val="0"/>
          <c:dLbls>
            <c:spPr>
              <a:noFill/>
              <a:ln w="25346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3:$E$3</c:f>
              <c:numCache>
                <c:formatCode>0%</c:formatCode>
                <c:ptCount val="4"/>
                <c:pt idx="0">
                  <c:v>0.41</c:v>
                </c:pt>
                <c:pt idx="1">
                  <c:v>0.47</c:v>
                </c:pt>
                <c:pt idx="2">
                  <c:v>0.25</c:v>
                </c:pt>
                <c:pt idx="3">
                  <c:v>0.48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Group 3</c:v>
                </c:pt>
              </c:strCache>
            </c:strRef>
          </c:tx>
          <c:spPr>
            <a:solidFill>
              <a:srgbClr val="FF6600"/>
            </a:solidFill>
            <a:ln w="25346">
              <a:noFill/>
            </a:ln>
          </c:spPr>
          <c:invertIfNegative val="0"/>
          <c:dLbls>
            <c:spPr>
              <a:noFill/>
              <a:ln w="25346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0%</c:formatCode>
                <c:ptCount val="4"/>
                <c:pt idx="0">
                  <c:v>0.320000000000001</c:v>
                </c:pt>
                <c:pt idx="1">
                  <c:v>0.2</c:v>
                </c:pt>
                <c:pt idx="2">
                  <c:v>0.11</c:v>
                </c:pt>
                <c:pt idx="3">
                  <c:v>0.2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serLines>
          <c:spPr>
            <a:ln w="6350">
              <a:solidFill>
                <a:schemeClr val="tx2"/>
              </a:solidFill>
              <a:prstDash val="dash"/>
            </a:ln>
          </c:spPr>
        </c:serLines>
        <c:axId val="2129106328"/>
        <c:axId val="2128891304"/>
      </c:barChart>
      <c:catAx>
        <c:axId val="2129106328"/>
        <c:scaling>
          <c:orientation val="minMax"/>
        </c:scaling>
        <c:delete val="0"/>
        <c:axPos val="b"/>
        <c:numFmt formatCode="s\t\a\nd\a\rd" sourceLinked="1"/>
        <c:majorTickMark val="out"/>
        <c:minorTickMark val="none"/>
        <c:tickLblPos val="nextTo"/>
        <c:spPr>
          <a:ln w="12673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288913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28891304"/>
        <c:scaling>
          <c:orientation val="minMax"/>
          <c:max val="1.0"/>
          <c:min val="0.0"/>
        </c:scaling>
        <c:delete val="1"/>
        <c:axPos val="l"/>
        <c:numFmt formatCode="0%" sourceLinked="1"/>
        <c:majorTickMark val="out"/>
        <c:minorTickMark val="none"/>
        <c:tickLblPos val="none"/>
        <c:crossAx val="2129106328"/>
        <c:crosses val="autoZero"/>
        <c:crossBetween val="between"/>
        <c:majorUnit val="0.2"/>
        <c:minorUnit val="0.002"/>
      </c:valAx>
      <c:spPr>
        <a:noFill/>
        <a:ln w="2534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7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963470319637"/>
          <c:y val="0.123529411764706"/>
          <c:w val="0.425799086757991"/>
          <c:h val="0.731372549019608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dPt>
            <c:idx val="0"/>
            <c:bubble3D val="0"/>
            <c:spPr>
              <a:solidFill>
                <a:srgbClr val="FF6600"/>
              </a:solidFill>
            </c:spPr>
          </c:dPt>
          <c:dPt>
            <c:idx val="1"/>
            <c:bubble3D val="0"/>
            <c:spPr>
              <a:solidFill>
                <a:srgbClr val="FF952E"/>
              </a:solidFill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3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</c:spPr>
          </c:dPt>
          <c:dLbls>
            <c:dLbl>
              <c:idx val="0"/>
              <c:layout>
                <c:manualLayout>
                  <c:x val="-0.124551104051399"/>
                  <c:y val="-0.01596123561477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05949579035026"/>
                  <c:y val="-0.081625883303048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04552407990777"/>
                  <c:y val="0.095518675550171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0478616283239341"/>
                  <c:y val="0.14154391278013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Other</c:v>
                </c:pt>
              </c:strCache>
            </c:strRef>
          </c:cat>
          <c:val>
            <c:numRef>
              <c:f>Sheet1!$B$2:$E$2</c:f>
              <c:numCache>
                <c:formatCode>s\t\a\nd\a\rd</c:formatCode>
                <c:ptCount val="4"/>
                <c:pt idx="0">
                  <c:v>90.0</c:v>
                </c:pt>
                <c:pt idx="1">
                  <c:v>27.4</c:v>
                </c:pt>
                <c:pt idx="2">
                  <c:v>20.4</c:v>
                </c:pt>
                <c:pt idx="3">
                  <c:v>15.0</c:v>
                </c:pt>
              </c:numCache>
            </c:numRef>
          </c:val>
        </c:ser>
        <c:ser>
          <c:idx val="1"/>
          <c:order val="1"/>
          <c:tx>
            <c:strRef>
              <c:f>Sheet1!$A$6</c:f>
              <c:strCache>
                <c:ptCount val="1"/>
                <c:pt idx="0">
                  <c:v>3</c:v>
                </c:pt>
              </c:strCache>
            </c:strRef>
          </c:tx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Other</c:v>
                </c:pt>
              </c:strCache>
            </c:strRef>
          </c:cat>
          <c:val>
            <c:numRef>
              <c:f>Sheet1!$B$6:$E$6</c:f>
              <c:numCache>
                <c:formatCode>General</c:formatCode>
                <c:ptCount val="4"/>
                <c:pt idx="0" formatCode="s\t\a\nd\a\rd">
                  <c:v>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0"/>
      </c:pieChart>
    </c:plotArea>
    <c:plotVisOnly val="1"/>
    <c:dispBlanksAs val="zero"/>
    <c:showDLblsOverMax val="0"/>
  </c:chart>
  <c:txPr>
    <a:bodyPr/>
    <a:lstStyle/>
    <a:p>
      <a:pPr>
        <a:defRPr sz="14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928792569659442"/>
          <c:y val="0.0458452722063037"/>
          <c:w val="0.978328173374613"/>
          <c:h val="0.905444126074499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dPt>
            <c:idx val="0"/>
            <c:bubble3D val="0"/>
            <c:spPr>
              <a:solidFill>
                <a:srgbClr val="FF952E"/>
              </a:solidFill>
            </c:spPr>
          </c:dPt>
          <c:dPt>
            <c:idx val="1"/>
            <c:bubble3D val="0"/>
            <c:spPr>
              <a:solidFill>
                <a:srgbClr val="FF6600"/>
              </a:solidFill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2:$D$2</c:f>
              <c:numCache>
                <c:formatCode>s\t\a\nd\a\rd</c:formatCode>
                <c:ptCount val="3"/>
                <c:pt idx="0">
                  <c:v>30.0</c:v>
                </c:pt>
                <c:pt idx="1">
                  <c:v>20.0</c:v>
                </c:pt>
                <c:pt idx="2">
                  <c:v>10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928792569659442"/>
          <c:y val="0.0458452722063037"/>
          <c:w val="0.978328173374613"/>
          <c:h val="0.905444126074499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dPt>
            <c:idx val="0"/>
            <c:bubble3D val="0"/>
            <c:spPr>
              <a:solidFill>
                <a:srgbClr val="FF952E"/>
              </a:solidFill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2"/>
            <c:bubble3D val="0"/>
            <c:spPr>
              <a:solidFill>
                <a:srgbClr val="FF6600"/>
              </a:solidFill>
            </c:spPr>
          </c:dPt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2:$D$2</c:f>
              <c:numCache>
                <c:formatCode>s\t\a\nd\a\rd</c:formatCode>
                <c:ptCount val="3"/>
                <c:pt idx="0">
                  <c:v>30.0</c:v>
                </c:pt>
                <c:pt idx="1">
                  <c:v>20.0</c:v>
                </c:pt>
                <c:pt idx="2">
                  <c:v>30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4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5:$D$5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cat>
            <c:strRef>
              <c:f>Sheet1!$B$1:$D$1</c:f>
              <c:strCache>
                <c:ptCount val="3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</c:strCache>
            </c:strRef>
          </c:cat>
          <c:val>
            <c:numRef>
              <c:f>Sheet1!$B$6:$D$6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6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796812749003989"/>
          <c:y val="0.122015915119363"/>
          <c:w val="0.820717131474104"/>
          <c:h val="0.83554376657825"/>
        </c:manualLayout>
      </c:layout>
      <c:ofPieChart>
        <c:ofPieType val="bar"/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dPt>
            <c:idx val="0"/>
            <c:bubble3D val="0"/>
            <c:spPr>
              <a:solidFill>
                <a:srgbClr val="FF6600"/>
              </a:solidFill>
            </c:spPr>
          </c:dPt>
          <c:dPt>
            <c:idx val="1"/>
            <c:bubble3D val="0"/>
            <c:spPr>
              <a:solidFill>
                <a:srgbClr val="FF952E"/>
              </a:solidFill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3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</c:spPr>
          </c:dPt>
          <c:dPt>
            <c:idx val="4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.0912519381904428"/>
                  <c:y val="-0.208085456039441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0675202755249417"/>
                  <c:y val="0.228541592531008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numFmt formatCode="0%" sourceLinked="0"/>
              <c:spPr/>
              <c:txPr>
                <a:bodyPr/>
                <a:lstStyle/>
                <a:p>
                  <a:pPr>
                    <a:defRPr sz="1200" b="0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numFmt formatCode="0%" sourceLinked="0"/>
              <c:spPr/>
              <c:txPr>
                <a:bodyPr/>
                <a:lstStyle/>
                <a:p>
                  <a:pPr>
                    <a:defRPr sz="1200" b="0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0.151644785039988"/>
                  <c:y val="0.00681888469775296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bg1"/>
                        </a:solidFill>
                      </a:defRPr>
                    </a:pPr>
                    <a:r>
                      <a:rPr lang="de-DE" sz="1200" b="1">
                        <a:solidFill>
                          <a:schemeClr val="bg1"/>
                        </a:solidFill>
                      </a:rPr>
                      <a:t>Label C
34%</a:t>
                    </a:r>
                    <a:endParaRPr lang="de-DE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</c:dLbl>
            <c:numFmt formatCode="0%" sourceLinked="0"/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B$1:$F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1</c:v>
                </c:pt>
                <c:pt idx="3">
                  <c:v>Label C2</c:v>
                </c:pt>
              </c:strCache>
            </c:strRef>
          </c:cat>
          <c:val>
            <c:numRef>
              <c:f>Sheet1!$B$2:$F$2</c:f>
              <c:numCache>
                <c:formatCode>s\t\a\nd\a\rd</c:formatCode>
                <c:ptCount val="4"/>
                <c:pt idx="0">
                  <c:v>38.0</c:v>
                </c:pt>
                <c:pt idx="1">
                  <c:v>28.0</c:v>
                </c:pt>
                <c:pt idx="2">
                  <c:v>14.0</c:v>
                </c:pt>
                <c:pt idx="3" formatCode="0">
                  <c:v>2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85"/>
        <c:splitType val="pos"/>
        <c:splitPos val="2.0"/>
        <c:secondPieSize val="100"/>
        <c:serLines>
          <c:spPr>
            <a:ln w="6350">
              <a:solidFill>
                <a:schemeClr val="tx2"/>
              </a:solidFill>
              <a:prstDash val="dash"/>
            </a:ln>
          </c:spPr>
        </c:serLines>
      </c:of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400641025641024"/>
          <c:y val="0.00221238938053098"/>
          <c:w val="0.721153846153849"/>
          <c:h val="0.995575221238937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raph 1</c:v>
                </c:pt>
              </c:strCache>
            </c:strRef>
          </c:tx>
          <c:spPr>
            <a:ln w="127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6600"/>
              </a:solidFill>
              <a:ln w="1270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FF952E"/>
              </a:solidFill>
              <a:ln w="1270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270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2700"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0.00891664987764971"/>
                  <c:y val="-0.02579310183863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27,4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24837099325242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20,4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4</c:v>
                </c:pt>
                <c:pt idx="1">
                  <c:v>27.4</c:v>
                </c:pt>
                <c:pt idx="2">
                  <c:v>90.0</c:v>
                </c:pt>
                <c:pt idx="3">
                  <c:v>20.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raph 2</c:v>
                </c:pt>
              </c:strCache>
            </c:strRef>
          </c:tx>
          <c:spPr>
            <a:ln w="127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6600"/>
              </a:solidFill>
              <a:ln w="1270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FF952E"/>
              </a:solidFill>
              <a:ln w="1270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7F7F7F"/>
              </a:solidFill>
              <a:ln w="1270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rgbClr val="404040"/>
              </a:solidFill>
              <a:ln w="12700"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0.0112418549662621"/>
                  <c:y val="0.01235061950026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38,6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31,6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Graph 3</c:v>
                </c:pt>
              </c:strCache>
            </c:strRef>
          </c:tx>
          <c:spPr>
            <a:ln w="127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6600"/>
              </a:solidFill>
              <a:ln w="1270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FF952E"/>
              </a:solidFill>
              <a:ln w="1270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7F7F7F"/>
              </a:solidFill>
              <a:ln w="1270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rgbClr val="404040"/>
              </a:solidFill>
              <a:ln w="12700"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-0.0247320809257765"/>
                  <c:y val="-0.03705185850080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46,9</a:t>
                    </a:r>
                    <a:endParaRPr lang="de-DE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224837099325241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de-DE" sz="1200" b="1">
                        <a:solidFill>
                          <a:schemeClr val="bg1"/>
                        </a:solidFill>
                      </a:rPr>
                      <a:t>43,9</a:t>
                    </a:r>
                    <a:endParaRPr lang="de-DE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.0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10"/>
      </c:doughnutChart>
    </c:plotArea>
    <c:legend>
      <c:legendPos val="r"/>
      <c:layout>
        <c:manualLayout>
          <c:xMode val="edge"/>
          <c:yMode val="edge"/>
          <c:x val="0.759639226744499"/>
          <c:y val="0.78211683783296"/>
          <c:w val="0.129807692307692"/>
          <c:h val="0.214601769911504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 dirty="0" smtClean="0"/>
              <a:t>y-axis</a:t>
            </a:r>
            <a:endParaRPr lang="en-US" sz="1200" dirty="0"/>
          </a:p>
        </c:rich>
      </c:tx>
      <c:layout>
        <c:manualLayout>
          <c:xMode val="edge"/>
          <c:yMode val="edge"/>
          <c:x val="0.000890608762521655"/>
          <c:y val="0.0252707581227437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ln w="12700">
              <a:solidFill>
                <a:schemeClr val="tx1">
                  <a:lumMod val="75000"/>
                  <a:lumOff val="25000"/>
                </a:schemeClr>
              </a:solidFill>
              <a:prstDash val="lgDash"/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2.0</c:v>
                </c:pt>
                <c:pt idx="1">
                  <c:v>10.0</c:v>
                </c:pt>
                <c:pt idx="2">
                  <c:v>15.0</c:v>
                </c:pt>
                <c:pt idx="3">
                  <c:v>4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ln w="38100">
              <a:solidFill>
                <a:srgbClr val="FF6600"/>
              </a:solidFill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8.0</c:v>
                </c:pt>
                <c:pt idx="1">
                  <c:v>2.0</c:v>
                </c:pt>
                <c:pt idx="2">
                  <c:v>25.0</c:v>
                </c:pt>
                <c:pt idx="3">
                  <c:v>30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ln w="12700">
              <a:solidFill>
                <a:schemeClr val="bg1">
                  <a:lumMod val="65000"/>
                </a:schemeClr>
              </a:solidFill>
              <a:prstDash val="lgDash"/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0</c:v>
                </c:pt>
                <c:pt idx="1">
                  <c:v>35.0</c:v>
                </c:pt>
                <c:pt idx="2">
                  <c:v>45.0</c:v>
                </c:pt>
                <c:pt idx="3">
                  <c:v>43.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bel D</c:v>
                </c:pt>
              </c:strCache>
            </c:strRef>
          </c:tx>
          <c:spPr>
            <a:ln w="12700">
              <a:solidFill>
                <a:srgbClr val="FF952E"/>
              </a:solidFill>
              <a:prstDash val="solid"/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5:$E$5</c:f>
              <c:numCache>
                <c:formatCode>General</c:formatCode>
                <c:ptCount val="4"/>
                <c:pt idx="0">
                  <c:v>30.0</c:v>
                </c:pt>
                <c:pt idx="1">
                  <c:v>40.0</c:v>
                </c:pt>
                <c:pt idx="2">
                  <c:v>25.0</c:v>
                </c:pt>
                <c:pt idx="3">
                  <c:v>35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19305304"/>
        <c:axId val="-2119302184"/>
      </c:lineChart>
      <c:catAx>
        <c:axId val="-2119305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/>
            </a:pPr>
            <a:endParaRPr lang="en-US"/>
          </a:p>
        </c:txPr>
        <c:crossAx val="-211930218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93021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/>
            </a:pPr>
            <a:endParaRPr lang="en-US"/>
          </a:p>
        </c:txPr>
        <c:crossAx val="-2119305304"/>
        <c:crosses val="autoZero"/>
        <c:crossBetween val="midCat"/>
        <c:majorUnit val="10.0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IE" sz="1200" dirty="0" smtClean="0"/>
              <a:t>y</a:t>
            </a:r>
            <a:r>
              <a:rPr lang="en-IE" sz="1200" baseline="0" dirty="0" smtClean="0"/>
              <a:t>- axis</a:t>
            </a:r>
            <a:endParaRPr lang="en-US" sz="1200" dirty="0"/>
          </a:p>
        </c:rich>
      </c:tx>
      <c:layout>
        <c:manualLayout>
          <c:xMode val="edge"/>
          <c:yMode val="edge"/>
          <c:x val="0.000363153183445778"/>
          <c:y val="0.0252707581227437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ln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2.0</c:v>
                </c:pt>
                <c:pt idx="1">
                  <c:v>10.0</c:v>
                </c:pt>
                <c:pt idx="2">
                  <c:v>15.0</c:v>
                </c:pt>
                <c:pt idx="3">
                  <c:v>40.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ln>
              <a:solidFill>
                <a:srgbClr val="FF6600"/>
              </a:solidFill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8.0</c:v>
                </c:pt>
                <c:pt idx="1">
                  <c:v>2.0</c:v>
                </c:pt>
                <c:pt idx="2">
                  <c:v>25.0</c:v>
                </c:pt>
                <c:pt idx="3">
                  <c:v>30.0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ln>
              <a:solidFill>
                <a:srgbClr val="A6A6A6"/>
              </a:solidFill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0</c:v>
                </c:pt>
                <c:pt idx="1">
                  <c:v>35.0</c:v>
                </c:pt>
                <c:pt idx="2">
                  <c:v>45.0</c:v>
                </c:pt>
                <c:pt idx="3">
                  <c:v>43.9</c:v>
                </c:pt>
              </c:numCache>
            </c:numRef>
          </c:val>
          <c:smooth val="1"/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bel D</c:v>
                </c:pt>
              </c:strCache>
            </c:strRef>
          </c:tx>
          <c:spPr>
            <a:ln>
              <a:solidFill>
                <a:srgbClr val="FF952E"/>
              </a:solidFill>
            </a:ln>
          </c:spPr>
          <c:marker>
            <c:symbol val="none"/>
          </c:marker>
          <c:cat>
            <c:numRef>
              <c:f>Sheet1!$B$1:$E$1</c:f>
              <c:numCache>
                <c:formatCode>General</c:formatCode>
                <c:ptCount val="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</c:numCache>
            </c:numRef>
          </c:cat>
          <c:val>
            <c:numRef>
              <c:f>Sheet1!$B$5:$E$5</c:f>
              <c:numCache>
                <c:formatCode>General</c:formatCode>
                <c:ptCount val="4"/>
                <c:pt idx="0">
                  <c:v>30.0</c:v>
                </c:pt>
                <c:pt idx="1">
                  <c:v>40.0</c:v>
                </c:pt>
                <c:pt idx="2">
                  <c:v>25.0</c:v>
                </c:pt>
                <c:pt idx="3">
                  <c:v>35.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15338552"/>
        <c:axId val="-2116926776"/>
      </c:lineChart>
      <c:catAx>
        <c:axId val="-2115338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/>
            </a:pPr>
            <a:endParaRPr lang="en-US"/>
          </a:p>
        </c:txPr>
        <c:crossAx val="-21169267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69267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/>
            </a:pPr>
            <a:endParaRPr lang="en-US"/>
          </a:p>
        </c:txPr>
        <c:crossAx val="-2115338552"/>
        <c:crosses val="autoZero"/>
        <c:crossBetween val="midCat"/>
        <c:majorUnit val="10.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805157593124"/>
          <c:y val="0.0733333333333338"/>
          <c:w val="0.593123209169055"/>
          <c:h val="0.92"/>
        </c:manualLayout>
      </c:layout>
      <c:radarChart>
        <c:radarStyle val="fill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solidFill>
              <a:srgbClr val="FF6600"/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2:$F$2</c:f>
              <c:numCache>
                <c:formatCode>s\t\a\nd\a\rd</c:formatCode>
                <c:ptCount val="5"/>
                <c:pt idx="0">
                  <c:v>100.0</c:v>
                </c:pt>
                <c:pt idx="1">
                  <c:v>80.0</c:v>
                </c:pt>
                <c:pt idx="2">
                  <c:v>90.0</c:v>
                </c:pt>
                <c:pt idx="3">
                  <c:v>70.0</c:v>
                </c:pt>
                <c:pt idx="4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3:$F$3</c:f>
              <c:numCache>
                <c:formatCode>s\t\a\nd\a\rd</c:formatCode>
                <c:ptCount val="5"/>
                <c:pt idx="0">
                  <c:v>40.0</c:v>
                </c:pt>
                <c:pt idx="1">
                  <c:v>60.0</c:v>
                </c:pt>
                <c:pt idx="2">
                  <c:v>80.0</c:v>
                </c:pt>
                <c:pt idx="3">
                  <c:v>50.0</c:v>
                </c:pt>
                <c:pt idx="4">
                  <c:v>60.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solidFill>
              <a:srgbClr val="FF952E"/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4:$F$4</c:f>
              <c:numCache>
                <c:formatCode>s\t\a\nd\a\rd</c:formatCode>
                <c:ptCount val="5"/>
                <c:pt idx="0">
                  <c:v>30.0</c:v>
                </c:pt>
                <c:pt idx="1">
                  <c:v>40.0</c:v>
                </c:pt>
                <c:pt idx="2">
                  <c:v>10.0</c:v>
                </c:pt>
                <c:pt idx="3">
                  <c:v>40.0</c:v>
                </c:pt>
                <c:pt idx="4">
                  <c:v>3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3309320"/>
        <c:axId val="2143304424"/>
      </c:radarChart>
      <c:catAx>
        <c:axId val="2143309320"/>
        <c:scaling>
          <c:orientation val="minMax"/>
        </c:scaling>
        <c:delete val="0"/>
        <c:axPos val="b"/>
        <c:majorGridlines/>
        <c:numFmt formatCode="s\t\a\nd\a\rd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2143304424"/>
        <c:crosses val="autoZero"/>
        <c:auto val="0"/>
        <c:lblAlgn val="ctr"/>
        <c:lblOffset val="100"/>
        <c:noMultiLvlLbl val="0"/>
      </c:catAx>
      <c:valAx>
        <c:axId val="2143304424"/>
        <c:scaling>
          <c:orientation val="minMax"/>
        </c:scaling>
        <c:delete val="0"/>
        <c:axPos val="l"/>
        <c:minorGridlines/>
        <c:numFmt formatCode="s\t\a\nd\a\rd" sourceLinked="1"/>
        <c:majorTickMark val="none"/>
        <c:minorTickMark val="cross"/>
        <c:tickLblPos val="none"/>
        <c:crossAx val="2143309320"/>
        <c:crosses val="autoZero"/>
        <c:crossBetween val="between"/>
        <c:minorUnit val="20.0"/>
      </c:valAx>
    </c:plotArea>
    <c:legend>
      <c:legendPos val="r"/>
      <c:layout>
        <c:manualLayout>
          <c:xMode val="edge"/>
          <c:yMode val="edge"/>
          <c:x val="0.783095309852005"/>
          <c:y val="0.67876399364378"/>
          <c:w val="0.16623500452274"/>
          <c:h val="0.147439689604017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805157593124"/>
          <c:y val="0.0733333333333338"/>
          <c:w val="0.593123209169055"/>
          <c:h val="0.92"/>
        </c:manualLayout>
      </c:layout>
      <c:radarChart>
        <c:radarStyle val="fill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solidFill>
              <a:srgbClr val="FF6600"/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2:$F$2</c:f>
              <c:numCache>
                <c:formatCode>s\t\a\nd\a\rd</c:formatCode>
                <c:ptCount val="5"/>
                <c:pt idx="0">
                  <c:v>100.0</c:v>
                </c:pt>
                <c:pt idx="1">
                  <c:v>80.0</c:v>
                </c:pt>
                <c:pt idx="2">
                  <c:v>90.0</c:v>
                </c:pt>
                <c:pt idx="3">
                  <c:v>70.0</c:v>
                </c:pt>
                <c:pt idx="4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3:$F$3</c:f>
              <c:numCache>
                <c:formatCode>s\t\a\nd\a\rd</c:formatCode>
                <c:ptCount val="5"/>
                <c:pt idx="0">
                  <c:v>40.0</c:v>
                </c:pt>
                <c:pt idx="1">
                  <c:v>60.0</c:v>
                </c:pt>
                <c:pt idx="2">
                  <c:v>80.0</c:v>
                </c:pt>
                <c:pt idx="3">
                  <c:v>50.0</c:v>
                </c:pt>
                <c:pt idx="4">
                  <c:v>60.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solidFill>
              <a:srgbClr val="FF952E"/>
            </a:solidFill>
          </c:spPr>
          <c:cat>
            <c:strRef>
              <c:f>Sheet1!$B$1:$F$1</c:f>
              <c:strCache>
                <c:ptCount val="5"/>
                <c:pt idx="0">
                  <c:v>Criterion 1</c:v>
                </c:pt>
                <c:pt idx="1">
                  <c:v>Criterion 2</c:v>
                </c:pt>
                <c:pt idx="2">
                  <c:v>Criterion 3</c:v>
                </c:pt>
                <c:pt idx="3">
                  <c:v>Criterion 4</c:v>
                </c:pt>
                <c:pt idx="4">
                  <c:v>Criterion 5</c:v>
                </c:pt>
              </c:strCache>
            </c:strRef>
          </c:cat>
          <c:val>
            <c:numRef>
              <c:f>Sheet1!$B$4:$F$4</c:f>
              <c:numCache>
                <c:formatCode>s\t\a\nd\a\rd</c:formatCode>
                <c:ptCount val="5"/>
                <c:pt idx="0">
                  <c:v>30.0</c:v>
                </c:pt>
                <c:pt idx="1">
                  <c:v>40.0</c:v>
                </c:pt>
                <c:pt idx="2">
                  <c:v>10.0</c:v>
                </c:pt>
                <c:pt idx="3">
                  <c:v>40.0</c:v>
                </c:pt>
                <c:pt idx="4">
                  <c:v>3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20962824"/>
        <c:axId val="2127745432"/>
      </c:radarChart>
      <c:catAx>
        <c:axId val="-2120962824"/>
        <c:scaling>
          <c:orientation val="minMax"/>
        </c:scaling>
        <c:delete val="0"/>
        <c:axPos val="b"/>
        <c:majorGridlines/>
        <c:numFmt formatCode="s\t\a\nd\a\rd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2127745432"/>
        <c:crosses val="autoZero"/>
        <c:auto val="0"/>
        <c:lblAlgn val="ctr"/>
        <c:lblOffset val="100"/>
        <c:noMultiLvlLbl val="0"/>
      </c:catAx>
      <c:valAx>
        <c:axId val="2127745432"/>
        <c:scaling>
          <c:orientation val="minMax"/>
        </c:scaling>
        <c:delete val="0"/>
        <c:axPos val="l"/>
        <c:minorGridlines/>
        <c:numFmt formatCode="s\t\a\nd\a\rd" sourceLinked="1"/>
        <c:majorTickMark val="none"/>
        <c:minorTickMark val="cross"/>
        <c:tickLblPos val="none"/>
        <c:crossAx val="-2120962824"/>
        <c:crosses val="autoZero"/>
        <c:crossBetween val="between"/>
        <c:minorUnit val="20.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046060166926"/>
          <c:y val="0.0393290599743445"/>
          <c:w val="0.817671809256662"/>
          <c:h val="0.9411764705882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abel A</c:v>
                </c:pt>
              </c:strCache>
            </c:strRef>
          </c:tx>
          <c:spPr>
            <a:solidFill>
              <a:srgbClr val="FF6600"/>
            </a:solidFill>
            <a:ln w="25470">
              <a:noFill/>
            </a:ln>
          </c:spPr>
          <c:invertIfNegative val="0"/>
          <c:dLbls>
            <c:spPr>
              <a:noFill/>
              <a:ln w="25470">
                <a:noFill/>
              </a:ln>
            </c:spPr>
            <c:txPr>
              <a:bodyPr/>
              <a:lstStyle/>
              <a:p>
                <a:pPr>
                  <a:defRPr sz="1404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5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abel B</c:v>
                </c:pt>
              </c:strCache>
            </c:strRef>
          </c:tx>
          <c:spPr>
            <a:solidFill>
              <a:srgbClr val="FF6600"/>
            </a:solidFill>
            <a:ln w="25470">
              <a:noFill/>
            </a:ln>
          </c:spPr>
          <c:invertIfNegative val="0"/>
          <c:dLbls>
            <c:spPr>
              <a:noFill/>
              <a:ln w="25470">
                <a:noFill/>
              </a:ln>
            </c:spPr>
            <c:txPr>
              <a:bodyPr/>
              <a:lstStyle/>
              <a:p>
                <a:pPr>
                  <a:defRPr sz="1404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General</c:formatCode>
                <c:ptCount val="1"/>
                <c:pt idx="0">
                  <c:v>4.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Label C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5470">
              <a:noFill/>
            </a:ln>
          </c:spPr>
          <c:invertIfNegative val="0"/>
          <c:dLbls>
            <c:spPr>
              <a:noFill/>
              <a:ln w="25470">
                <a:noFill/>
              </a:ln>
            </c:spPr>
            <c:txPr>
              <a:bodyPr/>
              <a:lstStyle/>
              <a:p>
                <a:pPr>
                  <a:defRPr sz="1404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General</c:formatCode>
                <c:ptCount val="1"/>
                <c:pt idx="0">
                  <c:v>-1.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Label D</c:v>
                </c:pt>
              </c:strCache>
            </c:strRef>
          </c:tx>
          <c:spPr>
            <a:solidFill>
              <a:srgbClr val="7F7F7F"/>
            </a:solidFill>
            <a:ln w="25470">
              <a:noFill/>
            </a:ln>
          </c:spPr>
          <c:invertIfNegative val="0"/>
          <c:dLbls>
            <c:spPr>
              <a:noFill/>
              <a:ln w="25470">
                <a:noFill/>
              </a:ln>
            </c:spPr>
            <c:txPr>
              <a:bodyPr/>
              <a:lstStyle/>
              <a:p>
                <a:pPr>
                  <a:defRPr sz="1404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5:$B$5</c:f>
              <c:numCache>
                <c:formatCode>General</c:formatCode>
                <c:ptCount val="1"/>
                <c:pt idx="0">
                  <c:v>-3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60"/>
        <c:axId val="2144267576"/>
        <c:axId val="2144261016"/>
      </c:barChart>
      <c:catAx>
        <c:axId val="21442675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2735">
            <a:solidFill>
              <a:schemeClr val="tx1"/>
            </a:solidFill>
            <a:prstDash val="solid"/>
          </a:ln>
        </c:spPr>
        <c:crossAx val="2144261016"/>
        <c:crosses val="autoZero"/>
        <c:auto val="1"/>
        <c:lblAlgn val="ctr"/>
        <c:lblOffset val="100"/>
        <c:tickMarkSkip val="1"/>
        <c:noMultiLvlLbl val="0"/>
      </c:catAx>
      <c:valAx>
        <c:axId val="21442610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144267576"/>
        <c:crosses val="autoZero"/>
        <c:crossBetween val="between"/>
      </c:valAx>
      <c:spPr>
        <a:noFill/>
        <a:ln w="2547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5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690647482014"/>
          <c:y val="0.0279898218829517"/>
          <c:w val="0.830215827338132"/>
          <c:h val="0.83715012722646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7F7F7F"/>
            </a:solidFill>
            <a:ln w="12690">
              <a:noFill/>
              <a:prstDash val="solid"/>
            </a:ln>
          </c:spPr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1.0</c:v>
                </c:pt>
                <c:pt idx="1">
                  <c:v>25.0</c:v>
                </c:pt>
                <c:pt idx="2">
                  <c:v>40.0</c:v>
                </c:pt>
                <c:pt idx="3">
                  <c:v>22.0</c:v>
                </c:pt>
              </c:numCache>
            </c:numRef>
          </c:val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rgbClr val="FF6600"/>
            </a:solidFill>
            <a:ln w="25380">
              <a:noFill/>
            </a:ln>
          </c:spPr>
          <c:invertIfNegative val="0"/>
          <c:dLbls>
            <c:spPr>
              <a:noFill/>
              <a:ln w="2538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31.0</c:v>
                </c:pt>
                <c:pt idx="1">
                  <c:v>32.0</c:v>
                </c:pt>
                <c:pt idx="2">
                  <c:v>34.0</c:v>
                </c:pt>
                <c:pt idx="3">
                  <c:v>3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109371272"/>
        <c:axId val="-2109367960"/>
      </c:barChart>
      <c:catAx>
        <c:axId val="-2109371272"/>
        <c:scaling>
          <c:orientation val="minMax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 w="9517">
            <a:noFill/>
          </a:ln>
        </c:spPr>
        <c:txPr>
          <a:bodyPr rot="0" vert="horz"/>
          <a:lstStyle/>
          <a:p>
            <a:pPr>
              <a:defRPr sz="139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2109367960"/>
        <c:crossesAt val="0.0"/>
        <c:auto val="1"/>
        <c:lblAlgn val="ctr"/>
        <c:lblOffset val="100"/>
        <c:tickLblSkip val="1"/>
        <c:tickMarkSkip val="1"/>
        <c:noMultiLvlLbl val="0"/>
      </c:catAx>
      <c:valAx>
        <c:axId val="-2109367960"/>
        <c:scaling>
          <c:orientation val="minMax"/>
          <c:max val="80.0"/>
          <c:min val="0.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2109371272"/>
        <c:crosses val="autoZero"/>
        <c:crossBetween val="between"/>
        <c:majorUnit val="10.0"/>
        <c:minorUnit val="5.0"/>
      </c:valAx>
      <c:spPr>
        <a:noFill/>
        <a:ln w="253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4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98381070984"/>
          <c:y val="0.0313315926892952"/>
          <c:w val="0.876712328767123"/>
          <c:h val="0.9425587467362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F6600"/>
            </a:solidFill>
            <a:ln w="3187">
              <a:noFill/>
              <a:prstDash val="solid"/>
            </a:ln>
          </c:spPr>
          <c:invertIfNegative val="0"/>
          <c:dLbls>
            <c:spPr>
              <a:noFill/>
              <a:ln w="25499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1.0</c:v>
                </c:pt>
                <c:pt idx="1">
                  <c:v>3.0</c:v>
                </c:pt>
                <c:pt idx="2">
                  <c:v>2.0</c:v>
                </c:pt>
                <c:pt idx="3">
                  <c:v>4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7F7F7F"/>
            </a:solidFill>
            <a:ln w="25499">
              <a:noFill/>
            </a:ln>
          </c:spPr>
          <c:invertIfNegative val="0"/>
          <c:dLbls>
            <c:spPr>
              <a:noFill/>
              <a:ln w="25499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-2.0</c:v>
                </c:pt>
                <c:pt idx="1">
                  <c:v>-1.0</c:v>
                </c:pt>
                <c:pt idx="2">
                  <c:v>-3.0</c:v>
                </c:pt>
                <c:pt idx="3">
                  <c:v>-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109473512"/>
        <c:axId val="-2108817432"/>
      </c:barChart>
      <c:catAx>
        <c:axId val="-2109473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1274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21088174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088174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-2109473512"/>
        <c:crosses val="autoZero"/>
        <c:crossBetween val="between"/>
      </c:valAx>
      <c:spPr>
        <a:noFill/>
        <a:ln w="254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3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991847826086956"/>
          <c:y val="0.148230088495576"/>
          <c:w val="0.883152173913044"/>
          <c:h val="0.8296460176991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3380">
              <a:noFill/>
            </a:ln>
          </c:spPr>
          <c:invertIfNegative val="0"/>
          <c:dLbls>
            <c:numFmt formatCode="0" sourceLinked="0"/>
            <c:spPr>
              <a:noFill/>
              <a:ln w="2338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s\t\a\nd\a\rd</c:formatCode>
                <c:ptCount val="4"/>
                <c:pt idx="0">
                  <c:v>20.4</c:v>
                </c:pt>
                <c:pt idx="1">
                  <c:v>27.4</c:v>
                </c:pt>
                <c:pt idx="2">
                  <c:v>90.0</c:v>
                </c:pt>
                <c:pt idx="3">
                  <c:v>20.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roup 2</c:v>
                </c:pt>
              </c:strCache>
            </c:strRef>
          </c:tx>
          <c:spPr>
            <a:solidFill>
              <a:srgbClr val="FF6600"/>
            </a:solidFill>
            <a:ln w="23380">
              <a:noFill/>
            </a:ln>
          </c:spPr>
          <c:invertIfNegative val="0"/>
          <c:dLbls>
            <c:numFmt formatCode="0" sourceLinked="0"/>
            <c:spPr>
              <a:noFill/>
              <a:ln w="2338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3:$E$3</c:f>
              <c:numCache>
                <c:formatCode>s\t\a\nd\a\rd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um</c:v>
                </c:pt>
              </c:strCache>
            </c:strRef>
          </c:tx>
          <c:spPr>
            <a:noFill/>
            <a:ln w="23380">
              <a:noFill/>
            </a:ln>
          </c:spPr>
          <c:invertIfNegative val="0"/>
          <c:dLbls>
            <c:numFmt formatCode="0" sourceLinked="0"/>
            <c:spPr>
              <a:noFill/>
              <a:ln w="23380">
                <a:noFill/>
              </a:ln>
            </c:spPr>
            <c:txPr>
              <a:bodyPr/>
              <a:lstStyle/>
              <a:p>
                <a:pPr>
                  <a:defRPr sz="1289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s\t\a\nd\a\rd</c:formatCode>
                <c:ptCount val="4"/>
                <c:pt idx="0">
                  <c:v>51.0</c:v>
                </c:pt>
                <c:pt idx="1">
                  <c:v>66.0</c:v>
                </c:pt>
                <c:pt idx="2">
                  <c:v>124.6</c:v>
                </c:pt>
                <c:pt idx="3">
                  <c:v>5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-2111051880"/>
        <c:axId val="-2111085368"/>
      </c:barChart>
      <c:catAx>
        <c:axId val="-2111051880"/>
        <c:scaling>
          <c:orientation val="minMax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 w="1169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21110853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11085368"/>
        <c:scaling>
          <c:orientation val="minMax"/>
          <c:max val="135.0"/>
        </c:scaling>
        <c:delete val="1"/>
        <c:axPos val="b"/>
        <c:numFmt formatCode="s\t\a\nd\a\rd" sourceLinked="1"/>
        <c:majorTickMark val="out"/>
        <c:minorTickMark val="none"/>
        <c:tickLblPos val="none"/>
        <c:crossAx val="-2111051880"/>
        <c:crosses val="autoZero"/>
        <c:crossBetween val="between"/>
      </c:valAx>
      <c:spPr>
        <a:noFill/>
        <a:ln w="233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8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741318523841"/>
          <c:y val="0.0563380281690141"/>
          <c:w val="0.803684235745622"/>
          <c:h val="0.91314553990610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oup 1</c:v>
                </c:pt>
              </c:strCache>
            </c:strRef>
          </c:tx>
          <c:spPr>
            <a:solidFill>
              <a:srgbClr val="7F7F7F"/>
            </a:solidFill>
            <a:ln w="23428">
              <a:noFill/>
            </a:ln>
          </c:spPr>
          <c:invertIfNegative val="0"/>
          <c:dLbls>
            <c:spPr>
              <a:noFill/>
              <a:ln w="23428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27</c:v>
                </c:pt>
                <c:pt idx="1">
                  <c:v>0.33</c:v>
                </c:pt>
                <c:pt idx="2">
                  <c:v>0.640000000000001</c:v>
                </c:pt>
                <c:pt idx="3">
                  <c:v>0.3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roup 2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 w="23428">
              <a:noFill/>
            </a:ln>
          </c:spPr>
          <c:invertIfNegative val="0"/>
          <c:dLbls>
            <c:spPr>
              <a:noFill/>
              <a:ln w="23428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3:$E$3</c:f>
              <c:numCache>
                <c:formatCode>0%</c:formatCode>
                <c:ptCount val="4"/>
                <c:pt idx="0">
                  <c:v>0.41</c:v>
                </c:pt>
                <c:pt idx="1">
                  <c:v>0.47</c:v>
                </c:pt>
                <c:pt idx="2">
                  <c:v>0.25</c:v>
                </c:pt>
                <c:pt idx="3">
                  <c:v>0.48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Group 3</c:v>
                </c:pt>
              </c:strCache>
            </c:strRef>
          </c:tx>
          <c:spPr>
            <a:solidFill>
              <a:srgbClr val="FF6600"/>
            </a:solidFill>
            <a:ln w="23428">
              <a:noFill/>
            </a:ln>
          </c:spPr>
          <c:invertIfNegative val="0"/>
          <c:dLbls>
            <c:spPr>
              <a:noFill/>
              <a:ln w="23428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E$1</c:f>
              <c:strCache>
                <c:ptCount val="4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</c:strCache>
            </c:strRef>
          </c:cat>
          <c:val>
            <c:numRef>
              <c:f>Sheet1!$B$4:$E$4</c:f>
              <c:numCache>
                <c:formatCode>0%</c:formatCode>
                <c:ptCount val="4"/>
                <c:pt idx="0">
                  <c:v>0.32</c:v>
                </c:pt>
                <c:pt idx="1">
                  <c:v>0.2</c:v>
                </c:pt>
                <c:pt idx="2">
                  <c:v>0.11</c:v>
                </c:pt>
                <c:pt idx="3">
                  <c:v>0.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serLines>
          <c:spPr>
            <a:ln w="6350">
              <a:solidFill>
                <a:schemeClr val="tx2"/>
              </a:solidFill>
              <a:prstDash val="dash"/>
            </a:ln>
          </c:spPr>
        </c:serLines>
        <c:axId val="2127730056"/>
        <c:axId val="-2120476728"/>
      </c:barChart>
      <c:catAx>
        <c:axId val="2127730056"/>
        <c:scaling>
          <c:orientation val="minMax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 w="1171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91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-21204767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2120476728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one"/>
        <c:crossAx val="2127730056"/>
        <c:crosses val="autoZero"/>
        <c:crossBetween val="between"/>
      </c:valAx>
      <c:spPr>
        <a:noFill/>
        <a:ln w="2342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1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09409190371991"/>
          <c:y val="0.025706940874036"/>
          <c:w val="0.9781181619256"/>
          <c:h val="0.835475578406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noFill/>
            <a:ln w="25308">
              <a:noFill/>
            </a:ln>
          </c:spPr>
          <c:invertIfNegative val="0"/>
          <c:cat>
            <c:strRef>
              <c:f>Sheet1!$B$1:$F$1</c:f>
              <c:strCache>
                <c:ptCount val="5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Total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1">
                  <c:v>5.0</c:v>
                </c:pt>
                <c:pt idx="2">
                  <c:v>8.0</c:v>
                </c:pt>
                <c:pt idx="3">
                  <c:v>10.0</c:v>
                </c:pt>
              </c:numCache>
            </c:numRef>
          </c:val>
        </c:ser>
        <c:ser>
          <c:idx val="2"/>
          <c:order val="1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F6600"/>
            </a:solidFill>
            <a:ln w="25308">
              <a:noFill/>
            </a:ln>
          </c:spPr>
          <c:invertIfNegative val="0"/>
          <c:dLbls>
            <c:spPr>
              <a:noFill/>
              <a:ln w="25308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Total</c:v>
                </c:pt>
              </c:strCache>
            </c:strRef>
          </c:cat>
          <c:val>
            <c:numRef>
              <c:f>Sheet1!$B$4:$F$4</c:f>
              <c:numCache>
                <c:formatCode>General</c:formatCode>
                <c:ptCount val="5"/>
                <c:pt idx="0">
                  <c:v>5.0</c:v>
                </c:pt>
                <c:pt idx="1">
                  <c:v>3.0</c:v>
                </c:pt>
                <c:pt idx="2">
                  <c:v>2.0</c:v>
                </c:pt>
                <c:pt idx="3">
                  <c:v>1.0</c:v>
                </c:pt>
                <c:pt idx="4">
                  <c:v>1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145168728"/>
        <c:axId val="2145171976"/>
      </c:barChart>
      <c:catAx>
        <c:axId val="2145168728"/>
        <c:scaling>
          <c:orientation val="minMax"/>
        </c:scaling>
        <c:delete val="0"/>
        <c:axPos val="b"/>
        <c:numFmt formatCode="s\t\a\nd\a\rd" sourceLinked="1"/>
        <c:majorTickMark val="out"/>
        <c:minorTickMark val="none"/>
        <c:tickLblPos val="nextTo"/>
        <c:spPr>
          <a:ln w="1265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451719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451719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145168728"/>
        <c:crosses val="autoZero"/>
        <c:crossBetween val="between"/>
      </c:valAx>
      <c:spPr>
        <a:noFill/>
        <a:ln w="253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6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09051254089423"/>
          <c:y val="0.0256410256410258"/>
          <c:w val="0.978189749182115"/>
          <c:h val="0.8358974358974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noFill/>
            <a:ln w="25304">
              <a:noFill/>
            </a:ln>
          </c:spPr>
          <c:invertIfNegative val="0"/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1">
                  <c:v>5.0</c:v>
                </c:pt>
                <c:pt idx="2">
                  <c:v>9.0</c:v>
                </c:pt>
                <c:pt idx="3">
                  <c:v>12.0</c:v>
                </c:pt>
                <c:pt idx="4">
                  <c:v>14.0</c:v>
                </c:pt>
                <c:pt idx="5">
                  <c:v>15.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F6600"/>
            </a:solidFill>
            <a:ln w="25304">
              <a:noFill/>
            </a:ln>
          </c:spPr>
          <c:invertIfNegative val="0"/>
          <c:dLbls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5.0</c:v>
                </c:pt>
                <c:pt idx="6">
                  <c:v>5.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F9900"/>
            </a:solidFill>
            <a:ln w="25304">
              <a:noFill/>
            </a:ln>
          </c:spPr>
          <c:invertIfNegative val="0"/>
          <c:dLbls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1">
                  <c:v>4.0</c:v>
                </c:pt>
                <c:pt idx="6">
                  <c:v>4.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25304">
              <a:noFill/>
            </a:ln>
          </c:spPr>
          <c:invertIfNegative val="0"/>
          <c:dLbls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5:$H$5</c:f>
              <c:numCache>
                <c:formatCode>General</c:formatCode>
                <c:ptCount val="7"/>
                <c:pt idx="2">
                  <c:v>3.0</c:v>
                </c:pt>
                <c:pt idx="6">
                  <c:v>3.0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chemeClr val="bg1">
                <a:lumMod val="65000"/>
              </a:schemeClr>
            </a:solidFill>
            <a:ln w="25304">
              <a:noFill/>
            </a:ln>
          </c:spPr>
          <c:invertIfNegative val="0"/>
          <c:dLbls>
            <c:dLbl>
              <c:idx val="3"/>
              <c:layout>
                <c:manualLayout>
                  <c:x val="0.0"/>
                  <c:y val="-0.0078100229110157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dLbl>
              <c:idx val="6"/>
              <c:layout>
                <c:manualLayout>
                  <c:x val="1.11384075299632E-16"/>
                  <c:y val="-0.011154504516366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6:$H$6</c:f>
              <c:numCache>
                <c:formatCode>General</c:formatCode>
                <c:ptCount val="7"/>
                <c:pt idx="3">
                  <c:v>2.0</c:v>
                </c:pt>
                <c:pt idx="6">
                  <c:v>2.0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chemeClr val="bg1">
                <a:lumMod val="50000"/>
              </a:schemeClr>
            </a:solidFill>
            <a:ln w="25304">
              <a:noFill/>
            </a:ln>
          </c:spPr>
          <c:invertIfNegative val="0"/>
          <c:dLbls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00128328375209685"/>
                  <c:y val="0.0027640692070681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7:$H$7</c:f>
              <c:numCache>
                <c:formatCode>General</c:formatCode>
                <c:ptCount val="7"/>
                <c:pt idx="4">
                  <c:v>1.5</c:v>
                </c:pt>
                <c:pt idx="6">
                  <c:v>1.5</c:v>
                </c:pt>
              </c:numCache>
            </c:numRef>
          </c:val>
        </c:ser>
        <c:ser>
          <c:idx val="6"/>
          <c:order val="6"/>
          <c:tx>
            <c:strRef>
              <c:f>Sheet1!$A$8</c:f>
              <c:strCache>
                <c:ptCount val="1"/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 w="25304">
              <a:noFill/>
            </a:ln>
          </c:spPr>
          <c:invertIfNegative val="0"/>
          <c:dLbls>
            <c:dLbl>
              <c:idx val="4"/>
              <c:spPr>
                <a:noFill/>
                <a:ln w="25304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.0"/>
                  <c:y val="0.0004553235193426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04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H$1</c:f>
              <c:strCache>
                <c:ptCount val="7"/>
                <c:pt idx="0">
                  <c:v>Label A</c:v>
                </c:pt>
                <c:pt idx="1">
                  <c:v>Label B</c:v>
                </c:pt>
                <c:pt idx="2">
                  <c:v>Label C</c:v>
                </c:pt>
                <c:pt idx="3">
                  <c:v>Label D</c:v>
                </c:pt>
                <c:pt idx="4">
                  <c:v>Label E</c:v>
                </c:pt>
                <c:pt idx="5">
                  <c:v>Label F</c:v>
                </c:pt>
                <c:pt idx="6">
                  <c:v>Total</c:v>
                </c:pt>
              </c:strCache>
            </c:strRef>
          </c:cat>
          <c:val>
            <c:numRef>
              <c:f>Sheet1!$B$8:$H$8</c:f>
              <c:numCache>
                <c:formatCode>General</c:formatCode>
                <c:ptCount val="7"/>
                <c:pt idx="5">
                  <c:v>1.5</c:v>
                </c:pt>
                <c:pt idx="6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-2113064536"/>
        <c:axId val="2129204824"/>
      </c:barChart>
      <c:catAx>
        <c:axId val="-2113064536"/>
        <c:scaling>
          <c:orientation val="minMax"/>
        </c:scaling>
        <c:delete val="0"/>
        <c:axPos val="b"/>
        <c:numFmt formatCode="s\t\a\nd\a\rd" sourceLinked="1"/>
        <c:majorTickMark val="out"/>
        <c:minorTickMark val="none"/>
        <c:tickLblPos val="nextTo"/>
        <c:spPr>
          <a:ln w="1265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292048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292048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-2113064536"/>
        <c:crosses val="autoZero"/>
        <c:crossBetween val="between"/>
      </c:valAx>
      <c:spPr>
        <a:noFill/>
        <a:ln w="2530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9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825</cdr:x>
      <cdr:y>0.78903</cdr:y>
    </cdr:from>
    <cdr:to>
      <cdr:x>0.12024</cdr:x>
      <cdr:y>0.85422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95084" y="3278009"/>
          <a:ext cx="635239" cy="2708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7432" rIns="0" bIns="27432" anchor="ctr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Arial"/>
              <a:cs typeface="Arial"/>
            </a:rPr>
            <a:t>Label A</a:t>
          </a:r>
        </a:p>
      </cdr:txBody>
    </cdr:sp>
  </cdr:relSizeAnchor>
  <cdr:relSizeAnchor xmlns:cdr="http://schemas.openxmlformats.org/drawingml/2006/chartDrawing">
    <cdr:from>
      <cdr:x>0.02825</cdr:x>
      <cdr:y>0.57053</cdr:y>
    </cdr:from>
    <cdr:to>
      <cdr:x>0.12024</cdr:x>
      <cdr:y>0.63572</cdr:y>
    </cdr:to>
    <cdr:sp macro="" textlink="">
      <cdr:nvSpPr>
        <cdr:cNvPr id="1026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95084" y="2370253"/>
          <a:ext cx="635239" cy="2708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7432" rIns="0" bIns="27432" anchor="ctr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Label B</a:t>
          </a:r>
        </a:p>
      </cdr:txBody>
    </cdr:sp>
  </cdr:relSizeAnchor>
  <cdr:relSizeAnchor xmlns:cdr="http://schemas.openxmlformats.org/drawingml/2006/chartDrawing">
    <cdr:from>
      <cdr:x>0.02825</cdr:x>
      <cdr:y>0.35503</cdr:y>
    </cdr:from>
    <cdr:to>
      <cdr:x>0.12163</cdr:x>
      <cdr:y>0.42022</cdr:y>
    </cdr:to>
    <cdr:sp macro="" textlink="">
      <cdr:nvSpPr>
        <cdr:cNvPr id="1027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95084" y="1474962"/>
          <a:ext cx="644857" cy="2708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7432" rIns="0" bIns="27432" anchor="ctr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Arial"/>
              <a:cs typeface="Arial"/>
            </a:rPr>
            <a:t>Label C</a:t>
          </a:r>
        </a:p>
      </cdr:txBody>
    </cdr:sp>
  </cdr:relSizeAnchor>
  <cdr:relSizeAnchor xmlns:cdr="http://schemas.openxmlformats.org/drawingml/2006/chartDrawing">
    <cdr:from>
      <cdr:x>0.02825</cdr:x>
      <cdr:y>0.13753</cdr:y>
    </cdr:from>
    <cdr:to>
      <cdr:x>0.12163</cdr:x>
      <cdr:y>0.20272</cdr:y>
    </cdr:to>
    <cdr:sp macro="" textlink="">
      <cdr:nvSpPr>
        <cdr:cNvPr id="1028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95084" y="571361"/>
          <a:ext cx="644857" cy="2708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7432" rIns="0" bIns="27432" anchor="ctr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Label D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85</cdr:x>
      <cdr:y>0.813</cdr:y>
    </cdr:from>
    <cdr:to>
      <cdr:x>0.11021</cdr:x>
      <cdr:y>0.8738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21559" y="3310486"/>
          <a:ext cx="635239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Arial"/>
              <a:cs typeface="Arial"/>
            </a:rPr>
            <a:t>Label A</a:t>
          </a:r>
        </a:p>
      </cdr:txBody>
    </cdr:sp>
  </cdr:relSizeAnchor>
  <cdr:relSizeAnchor xmlns:cdr="http://schemas.openxmlformats.org/drawingml/2006/chartDrawing">
    <cdr:from>
      <cdr:x>0.0285</cdr:x>
      <cdr:y>0.57925</cdr:y>
    </cdr:from>
    <cdr:to>
      <cdr:x>0.11021</cdr:x>
      <cdr:y>0.6401</cdr:y>
    </cdr:to>
    <cdr:sp macro="" textlink="">
      <cdr:nvSpPr>
        <cdr:cNvPr id="1026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21559" y="2358670"/>
          <a:ext cx="635239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Arial"/>
              <a:cs typeface="Arial"/>
            </a:rPr>
            <a:t>Label B</a:t>
          </a:r>
        </a:p>
      </cdr:txBody>
    </cdr:sp>
  </cdr:relSizeAnchor>
  <cdr:relSizeAnchor xmlns:cdr="http://schemas.openxmlformats.org/drawingml/2006/chartDrawing">
    <cdr:from>
      <cdr:x>0.0285</cdr:x>
      <cdr:y>0.35775</cdr:y>
    </cdr:from>
    <cdr:to>
      <cdr:x>0.11145</cdr:x>
      <cdr:y>0.4186</cdr:y>
    </cdr:to>
    <cdr:sp macro="" textlink="">
      <cdr:nvSpPr>
        <cdr:cNvPr id="1027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21559" y="1456736"/>
          <a:ext cx="644857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Label C</a:t>
          </a:r>
        </a:p>
      </cdr:txBody>
    </cdr:sp>
  </cdr:relSizeAnchor>
  <cdr:relSizeAnchor xmlns:cdr="http://schemas.openxmlformats.org/drawingml/2006/chartDrawing">
    <cdr:from>
      <cdr:x>0.0285</cdr:x>
      <cdr:y>0.123</cdr:y>
    </cdr:from>
    <cdr:to>
      <cdr:x>0.11145</cdr:x>
      <cdr:y>0.18385</cdr:y>
    </cdr:to>
    <cdr:sp macro="" textlink="">
      <cdr:nvSpPr>
        <cdr:cNvPr id="1028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21559" y="500848"/>
          <a:ext cx="644857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Label D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895</cdr:x>
      <cdr:y>0</cdr:y>
    </cdr:from>
    <cdr:to>
      <cdr:x>0.19775</cdr:x>
      <cdr:y>0.0707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328471" y="-519865"/>
          <a:ext cx="57836" cy="3046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sp>
  </cdr:relSizeAnchor>
  <cdr:relSizeAnchor xmlns:cdr="http://schemas.openxmlformats.org/drawingml/2006/chartDrawing">
    <cdr:from>
      <cdr:x>0.15075</cdr:x>
      <cdr:y>0.1175</cdr:y>
    </cdr:from>
    <cdr:to>
      <cdr:x>0.25376</cdr:x>
      <cdr:y>0.17866</cdr:y>
    </cdr:to>
    <cdr:sp macro="" textlink="">
      <cdr:nvSpPr>
        <cdr:cNvPr id="1026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985980" y="476028"/>
          <a:ext cx="673711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Group 1</a:t>
          </a:r>
        </a:p>
      </cdr:txBody>
    </cdr:sp>
  </cdr:relSizeAnchor>
  <cdr:relSizeAnchor xmlns:cdr="http://schemas.openxmlformats.org/drawingml/2006/chartDrawing">
    <cdr:from>
      <cdr:x>0.308</cdr:x>
      <cdr:y>0.1175</cdr:y>
    </cdr:from>
    <cdr:to>
      <cdr:x>0.41101</cdr:x>
      <cdr:y>0.17866</cdr:y>
    </cdr:to>
    <cdr:sp macro="" textlink="">
      <cdr:nvSpPr>
        <cdr:cNvPr id="1027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14474" y="476028"/>
          <a:ext cx="673711" cy="2477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32004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Group 2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65</cdr:x>
      <cdr:y>0.017</cdr:y>
    </cdr:from>
    <cdr:to>
      <cdr:x>0.29228</cdr:x>
      <cdr:y>0.07917</cdr:y>
    </cdr:to>
    <cdr:sp macro="" textlink="">
      <cdr:nvSpPr>
        <cdr:cNvPr id="1028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71544" y="65229"/>
          <a:ext cx="664477" cy="2385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18288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 dirty="0">
              <a:solidFill>
                <a:srgbClr val="000000"/>
              </a:solidFill>
              <a:latin typeface="+mn-lt"/>
            </a:rPr>
            <a:t>Group 1</a:t>
          </a:r>
        </a:p>
      </cdr:txBody>
    </cdr:sp>
  </cdr:relSizeAnchor>
  <cdr:relSizeAnchor xmlns:cdr="http://schemas.openxmlformats.org/drawingml/2006/chartDrawing">
    <cdr:from>
      <cdr:x>0.52425</cdr:x>
      <cdr:y>0.017</cdr:y>
    </cdr:from>
    <cdr:to>
      <cdr:x>0.63003</cdr:x>
      <cdr:y>0.07917</cdr:y>
    </cdr:to>
    <cdr:sp macro="" textlink="">
      <cdr:nvSpPr>
        <cdr:cNvPr id="1029" name="Text Box 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293201" y="65229"/>
          <a:ext cx="664477" cy="2385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18288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+mn-lt"/>
            </a:rPr>
            <a:t>Group 2</a:t>
          </a:r>
        </a:p>
      </cdr:txBody>
    </cdr:sp>
  </cdr:relSizeAnchor>
  <cdr:relSizeAnchor xmlns:cdr="http://schemas.openxmlformats.org/drawingml/2006/chartDrawing">
    <cdr:from>
      <cdr:x>0.816</cdr:x>
      <cdr:y>0.017</cdr:y>
    </cdr:from>
    <cdr:to>
      <cdr:x>0.92178</cdr:x>
      <cdr:y>0.07917</cdr:y>
    </cdr:to>
    <cdr:sp macro="" textlink="">
      <cdr:nvSpPr>
        <cdr:cNvPr id="1030" name="Text Box 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25897" y="65229"/>
          <a:ext cx="664477" cy="2385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18288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400" b="0" i="0" u="none" strike="noStrike" baseline="0">
              <a:solidFill>
                <a:srgbClr val="000000"/>
              </a:solidFill>
              <a:latin typeface="+mn-lt"/>
            </a:rPr>
            <a:t>Group 3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555</cdr:x>
      <cdr:y>0.446</cdr:y>
    </cdr:from>
    <cdr:to>
      <cdr:x>0.12347</cdr:x>
      <cdr:y>0.49277</cdr:y>
    </cdr:to>
    <cdr:sp macro="" textlink="">
      <cdr:nvSpPr>
        <cdr:cNvPr id="1027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75534" y="1981054"/>
          <a:ext cx="582339" cy="20774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200" b="0" i="0" strike="noStrike" dirty="0">
              <a:solidFill>
                <a:srgbClr val="000000"/>
              </a:solidFill>
              <a:latin typeface="+mn-lt"/>
              <a:cs typeface="Arial"/>
            </a:rPr>
            <a:t>Group 2</a:t>
          </a:r>
        </a:p>
      </cdr:txBody>
    </cdr:sp>
  </cdr:relSizeAnchor>
  <cdr:relSizeAnchor xmlns:cdr="http://schemas.openxmlformats.org/drawingml/2006/chartDrawing">
    <cdr:from>
      <cdr:x>0.0555</cdr:x>
      <cdr:y>0.73</cdr:y>
    </cdr:from>
    <cdr:to>
      <cdr:x>0.12239</cdr:x>
      <cdr:y>0.77677</cdr:y>
    </cdr:to>
    <cdr:sp macro="" textlink="">
      <cdr:nvSpPr>
        <cdr:cNvPr id="1028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75534" y="3242532"/>
          <a:ext cx="573106" cy="20774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18288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200" b="0" i="0" strike="noStrike" dirty="0">
              <a:solidFill>
                <a:srgbClr val="000000"/>
              </a:solidFill>
              <a:latin typeface="+mn-lt"/>
            </a:rPr>
            <a:t>Group 1</a:t>
          </a:r>
        </a:p>
      </cdr:txBody>
    </cdr:sp>
  </cdr:relSizeAnchor>
  <cdr:relSizeAnchor xmlns:cdr="http://schemas.openxmlformats.org/drawingml/2006/chartDrawing">
    <cdr:from>
      <cdr:x>0.0555</cdr:x>
      <cdr:y>0.132</cdr:y>
    </cdr:from>
    <cdr:to>
      <cdr:x>0.12347</cdr:x>
      <cdr:y>0.17981</cdr:y>
    </cdr:to>
    <cdr:sp macro="" textlink="">
      <cdr:nvSpPr>
        <cdr:cNvPr id="1029" name="Text Box 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75534" y="586321"/>
          <a:ext cx="582339" cy="21236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27432" tIns="27432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de-DE" sz="1200" b="0" i="0" strike="noStrike" dirty="0">
              <a:solidFill>
                <a:srgbClr val="000000"/>
              </a:solidFill>
              <a:latin typeface="+mn-lt"/>
              <a:cs typeface="Arial"/>
            </a:rPr>
            <a:t>Group 3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650F80-086D-8947-ACA5-0CBDAF25E2E7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8C36DF-60E0-6040-9F2B-69A4353455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374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97A3EB-58AD-45EA-B179-9007F3A22D6E}" type="slidenum">
              <a:rPr lang="en-US"/>
              <a:pPr/>
              <a:t>3</a:t>
            </a:fld>
            <a:endParaRPr lang="en-US"/>
          </a:p>
        </p:txBody>
      </p:sp>
      <p:sp>
        <p:nvSpPr>
          <p:cNvPr id="438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8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6692720-57E2-486C-B29A-E6508B8E6768}" type="slidenum">
              <a:rPr lang="en-US"/>
              <a:pPr/>
              <a:t>13</a:t>
            </a:fld>
            <a:endParaRPr lang="en-US"/>
          </a:p>
        </p:txBody>
      </p:sp>
      <p:sp>
        <p:nvSpPr>
          <p:cNvPr id="401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1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AF9BC6-C087-4DAC-9285-2EAAA4469803}" type="slidenum">
              <a:rPr lang="en-US"/>
              <a:pPr/>
              <a:t>14</a:t>
            </a:fld>
            <a:endParaRPr lang="en-US"/>
          </a:p>
        </p:txBody>
      </p:sp>
      <p:sp>
        <p:nvSpPr>
          <p:cNvPr id="402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2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07B2A73-109E-4AC3-B68B-D05E4F4CDC7B}" type="slidenum">
              <a:rPr lang="en-US"/>
              <a:pPr/>
              <a:t>15</a:t>
            </a:fld>
            <a:endParaRPr lang="en-US"/>
          </a:p>
        </p:txBody>
      </p:sp>
      <p:sp>
        <p:nvSpPr>
          <p:cNvPr id="403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3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C8A3E70-0B89-4623-A3C3-C220C76DA49F}" type="slidenum">
              <a:rPr lang="en-US"/>
              <a:pPr/>
              <a:t>17</a:t>
            </a:fld>
            <a:endParaRPr lang="en-US"/>
          </a:p>
        </p:txBody>
      </p:sp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BD82EE-59C3-477F-8BEE-DA817B14A761}" type="slidenum">
              <a:rPr lang="en-US"/>
              <a:pPr/>
              <a:t>18</a:t>
            </a:fld>
            <a:endParaRPr lang="en-US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D68A10A-C72B-4757-87D4-EBCC7D36A7E0}" type="slidenum">
              <a:rPr lang="en-US"/>
              <a:pPr/>
              <a:t>19</a:t>
            </a:fld>
            <a:endParaRPr lang="en-US"/>
          </a:p>
        </p:txBody>
      </p:sp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42175B-6024-4A69-A87B-D1ECB699BDFF}" type="slidenum">
              <a:rPr lang="en-US"/>
              <a:pPr/>
              <a:t>21</a:t>
            </a:fld>
            <a:endParaRPr lang="en-US"/>
          </a:p>
        </p:txBody>
      </p:sp>
      <p:sp>
        <p:nvSpPr>
          <p:cNvPr id="408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8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0F2111-5E4E-472A-B5B3-3F9D35D6181B}" type="slidenum">
              <a:rPr lang="en-US"/>
              <a:pPr/>
              <a:t>22</a:t>
            </a:fld>
            <a:endParaRPr lang="en-US"/>
          </a:p>
        </p:txBody>
      </p:sp>
      <p:sp>
        <p:nvSpPr>
          <p:cNvPr id="409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A4D801-6594-4074-A523-EFEBBBC88F69}" type="slidenum">
              <a:rPr lang="en-US"/>
              <a:pPr/>
              <a:t>23</a:t>
            </a:fld>
            <a:endParaRPr lang="en-US"/>
          </a:p>
        </p:txBody>
      </p:sp>
      <p:sp>
        <p:nvSpPr>
          <p:cNvPr id="413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3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F3243C3-8DA2-4A64-A283-EE167409F036}" type="slidenum">
              <a:rPr lang="en-US"/>
              <a:pPr/>
              <a:t>25</a:t>
            </a:fld>
            <a:endParaRPr lang="en-US"/>
          </a:p>
        </p:txBody>
      </p:sp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E32899-141D-43E6-A97F-87BCAB3ADF88}" type="slidenum">
              <a:rPr lang="en-US"/>
              <a:pPr/>
              <a:t>4</a:t>
            </a:fld>
            <a:endParaRPr lang="en-US"/>
          </a:p>
        </p:txBody>
      </p:sp>
      <p:sp>
        <p:nvSpPr>
          <p:cNvPr id="439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92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24AFC77-63B8-4C04-9613-B28496839F98}" type="slidenum">
              <a:rPr lang="en-US"/>
              <a:pPr/>
              <a:t>26</a:t>
            </a:fld>
            <a:endParaRPr lang="en-US"/>
          </a:p>
        </p:txBody>
      </p:sp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492C67-2084-4816-9A72-C7E647D0B8C3}" type="slidenum">
              <a:rPr lang="en-US"/>
              <a:pPr/>
              <a:t>27</a:t>
            </a:fld>
            <a:endParaRPr lang="en-US"/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4A9A348-DCF6-47CD-921D-4AC0DAC5A444}" type="slidenum">
              <a:rPr lang="en-US"/>
              <a:pPr/>
              <a:t>32</a:t>
            </a:fld>
            <a:endParaRPr lang="en-US"/>
          </a:p>
        </p:txBody>
      </p:sp>
      <p:sp>
        <p:nvSpPr>
          <p:cNvPr id="1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4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15F2B17-989E-4653-8F1E-D5E97CA8C30A}" type="slidenum">
              <a:rPr lang="en-US"/>
              <a:pPr/>
              <a:t>33</a:t>
            </a:fld>
            <a:endParaRPr lang="en-US"/>
          </a:p>
        </p:txBody>
      </p:sp>
      <p:sp>
        <p:nvSpPr>
          <p:cNvPr id="128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2025" y="692150"/>
            <a:ext cx="4933950" cy="3416300"/>
          </a:xfrm>
          <a:ln w="12700" cap="flat">
            <a:solidFill>
              <a:schemeClr val="tx1"/>
            </a:solidFill>
          </a:ln>
        </p:spPr>
      </p:sp>
      <p:sp>
        <p:nvSpPr>
          <p:cNvPr id="1280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56100"/>
            <a:ext cx="5029200" cy="4135438"/>
          </a:xfrm>
          <a:ln/>
        </p:spPr>
        <p:txBody>
          <a:bodyPr lIns="90488" tIns="44450" rIns="90488" bIns="44450"/>
          <a:lstStyle/>
          <a:p>
            <a:pPr marL="190500" indent="-190500" defTabSz="762000"/>
            <a:endParaRPr 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2F8DF87-CFA6-4519-A7A2-5BC37B3FFDB3}" type="slidenum">
              <a:rPr lang="en-US"/>
              <a:pPr/>
              <a:t>36</a:t>
            </a:fld>
            <a:endParaRPr lang="en-US"/>
          </a:p>
        </p:txBody>
      </p:sp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2025" y="692150"/>
            <a:ext cx="4933950" cy="3416300"/>
          </a:xfrm>
          <a:ln w="12700" cap="flat">
            <a:solidFill>
              <a:schemeClr val="tx1"/>
            </a:solidFill>
          </a:ln>
        </p:spPr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56100"/>
            <a:ext cx="5029200" cy="4135438"/>
          </a:xfrm>
          <a:ln/>
        </p:spPr>
        <p:txBody>
          <a:bodyPr lIns="90488" tIns="44450" rIns="90488" bIns="44450"/>
          <a:lstStyle/>
          <a:p>
            <a:pPr marL="190500" indent="-190500" defTabSz="762000"/>
            <a:endParaRPr lang="de-DE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CA7AB06-897F-4658-A206-FA9E2DEF25B2}" type="slidenum">
              <a:rPr lang="en-US"/>
              <a:pPr/>
              <a:t>38</a:t>
            </a:fld>
            <a:endParaRPr lang="en-US"/>
          </a:p>
        </p:txBody>
      </p:sp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43400"/>
            <a:ext cx="5029200" cy="411480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F0B327-8698-4309-8652-2AB5126BDF57}" type="slidenum">
              <a:rPr lang="en-US"/>
              <a:pPr/>
              <a:t>5</a:t>
            </a:fld>
            <a:endParaRPr lang="en-US"/>
          </a:p>
        </p:txBody>
      </p:sp>
      <p:sp>
        <p:nvSpPr>
          <p:cNvPr id="440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0FDF78E-7559-43F9-8736-5097F6445985}" type="slidenum">
              <a:rPr lang="en-US"/>
              <a:pPr/>
              <a:t>6</a:t>
            </a:fld>
            <a:endParaRPr lang="en-US"/>
          </a:p>
        </p:txBody>
      </p:sp>
      <p:sp>
        <p:nvSpPr>
          <p:cNvPr id="442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2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FD1B14A-0AC6-4BD1-9EF2-FBB89F8D42F0}" type="slidenum">
              <a:rPr lang="en-US"/>
              <a:pPr/>
              <a:t>7</a:t>
            </a:fld>
            <a:endParaRPr lang="en-US"/>
          </a:p>
        </p:txBody>
      </p:sp>
      <p:sp>
        <p:nvSpPr>
          <p:cNvPr id="443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3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8E60F36-3E74-4F0E-92C7-8FFA30D18378}" type="slidenum">
              <a:rPr lang="en-US"/>
              <a:pPr/>
              <a:t>8</a:t>
            </a:fld>
            <a:endParaRPr lang="en-US"/>
          </a:p>
        </p:txBody>
      </p:sp>
      <p:sp>
        <p:nvSpPr>
          <p:cNvPr id="420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0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971CF3-E62F-44AB-9BD6-8F708D8B1631}" type="slidenum">
              <a:rPr lang="en-US"/>
              <a:pPr/>
              <a:t>9</a:t>
            </a:fld>
            <a:endParaRPr lang="en-US"/>
          </a:p>
        </p:txBody>
      </p:sp>
      <p:sp>
        <p:nvSpPr>
          <p:cNvPr id="421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18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5A360BD-CDBF-4AC3-8A2B-749F7BAA06FA}" type="slidenum">
              <a:rPr lang="en-US"/>
              <a:pPr/>
              <a:t>10</a:t>
            </a:fld>
            <a:endParaRPr lang="en-US"/>
          </a:p>
        </p:txBody>
      </p:sp>
      <p:sp>
        <p:nvSpPr>
          <p:cNvPr id="432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2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4E0A5D-9611-4AE8-9D65-2ACBF86322EF}" type="slidenum">
              <a:rPr lang="en-US"/>
              <a:pPr/>
              <a:t>12</a:t>
            </a:fld>
            <a:endParaRPr lang="en-US"/>
          </a:p>
        </p:txBody>
      </p:sp>
      <p:sp>
        <p:nvSpPr>
          <p:cNvPr id="400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0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125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764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688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507340" y="1162052"/>
            <a:ext cx="8891323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507340" y="296653"/>
            <a:ext cx="9526956" cy="29832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507340" y="1628776"/>
            <a:ext cx="8891323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539750" indent="-268288"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marL="540000" lvl="1" indent="-268288">
              <a:buClr>
                <a:srgbClr val="000000"/>
              </a:buClr>
              <a:buSzPct val="100000"/>
              <a:buFont typeface="Arial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891098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843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378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43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576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850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71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101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01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95DC7C-8411-470B-83EE-8BD67417EAA0}" type="datetimeFigureOut">
              <a:rPr lang="en-US" smtClean="0"/>
              <a:t>12/23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0F6DC5-1254-4FB3-909A-E928D8B76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32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chart" Target="../charts/chart1.xml"/><Relationship Id="rId5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Relationship Id="rId3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slideLayout" Target="../slideLayouts/slideLayout12.xml"/><Relationship Id="rId7" Type="http://schemas.openxmlformats.org/officeDocument/2006/relationships/notesSlide" Target="../notesSlides/notesSlide9.xml"/><Relationship Id="rId8" Type="http://schemas.openxmlformats.org/officeDocument/2006/relationships/oleObject" Target="../embeddings/oleObject1.bin"/><Relationship Id="rId9" Type="http://schemas.openxmlformats.org/officeDocument/2006/relationships/chart" Target="../charts/chart11.xml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chart" Target="../charts/chart12.xml"/><Relationship Id="rId5" Type="http://schemas.openxmlformats.org/officeDocument/2006/relationships/chart" Target="../charts/chart13.xml"/><Relationship Id="rId1" Type="http://schemas.openxmlformats.org/officeDocument/2006/relationships/tags" Target="../tags/tag7.xml"/><Relationship Id="rId2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chart" Target="../charts/chart14.xml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chart" Target="../charts/chart15.xml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7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4" Type="http://schemas.openxmlformats.org/officeDocument/2006/relationships/chart" Target="../charts/chart16.xml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4" Type="http://schemas.openxmlformats.org/officeDocument/2006/relationships/chart" Target="../charts/chart17.xml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4" Type="http://schemas.openxmlformats.org/officeDocument/2006/relationships/chart" Target="../charts/chart18.xml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6" Type="http://schemas.openxmlformats.org/officeDocument/2006/relationships/image" Target="../media/image29.png"/><Relationship Id="rId7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tags" Target="../tags/tag17.xml"/><Relationship Id="rId7" Type="http://schemas.openxmlformats.org/officeDocument/2006/relationships/tags" Target="../tags/tag18.xml"/><Relationship Id="rId8" Type="http://schemas.openxmlformats.org/officeDocument/2006/relationships/tags" Target="../tags/tag19.xml"/><Relationship Id="rId9" Type="http://schemas.openxmlformats.org/officeDocument/2006/relationships/slideLayout" Target="../slideLayouts/slideLayout12.xml"/><Relationship Id="rId1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6" Type="http://schemas.openxmlformats.org/officeDocument/2006/relationships/image" Target="../media/image35.png"/><Relationship Id="rId7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Relationship Id="rId3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4" Type="http://schemas.openxmlformats.org/officeDocument/2006/relationships/chart" Target="../charts/chart8.xml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4" Type="http://schemas.openxmlformats.org/officeDocument/2006/relationships/chart" Target="../charts/chart9.xml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CCRU0.jpg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800" y="732957"/>
            <a:ext cx="3768153" cy="610008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529064" y="723181"/>
            <a:ext cx="4392488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0" dirty="0" smtClean="0">
                <a:latin typeface="Hello Lucky"/>
                <a:cs typeface="Hello Lucky"/>
              </a:rPr>
              <a:t>Timesaver </a:t>
            </a:r>
          </a:p>
          <a:p>
            <a:pPr algn="ctr">
              <a:lnSpc>
                <a:spcPct val="80000"/>
              </a:lnSpc>
            </a:pPr>
            <a:r>
              <a:rPr lang="en-US" sz="5400" dirty="0" smtClean="0">
                <a:solidFill>
                  <a:srgbClr val="FF6600"/>
                </a:solidFill>
                <a:latin typeface="Hello Lucky"/>
                <a:cs typeface="Hello Lucky"/>
              </a:rPr>
              <a:t>Templates</a:t>
            </a:r>
            <a:endParaRPr lang="en-US" sz="5400" dirty="0">
              <a:solidFill>
                <a:srgbClr val="FF6600"/>
              </a:solidFill>
              <a:latin typeface="Hello Lucky"/>
              <a:cs typeface="Hello Lucky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28464" y="6606938"/>
            <a:ext cx="4953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65000"/>
                  </a:schemeClr>
                </a:solidFill>
              </a:rPr>
              <a:t>Cover Image by: http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://</a:t>
            </a:r>
            <a:r>
              <a:rPr lang="en-US" sz="900" dirty="0" err="1" smtClean="0">
                <a:solidFill>
                  <a:schemeClr val="bg1">
                    <a:lumMod val="65000"/>
                  </a:schemeClr>
                </a:solidFill>
              </a:rPr>
              <a:t>www.freepik.com</a:t>
            </a:r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6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6638495"/>
              </p:ext>
            </p:extLst>
          </p:nvPr>
        </p:nvGraphicFramePr>
        <p:xfrm>
          <a:off x="200472" y="116632"/>
          <a:ext cx="3800872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2562937"/>
              </p:ext>
            </p:extLst>
          </p:nvPr>
        </p:nvGraphicFramePr>
        <p:xfrm>
          <a:off x="5097016" y="3242359"/>
          <a:ext cx="5617635" cy="3615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901725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ChangeArrowheads="1"/>
          </p:cNvSpPr>
          <p:nvPr/>
        </p:nvSpPr>
        <p:spPr bwMode="auto">
          <a:xfrm>
            <a:off x="500117" y="5689809"/>
            <a:ext cx="4947840" cy="6633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Select Format Series Lines to add/remove trend lines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Edit Group names manually </a:t>
            </a:r>
          </a:p>
        </p:txBody>
      </p:sp>
      <p:graphicFrame>
        <p:nvGraphicFramePr>
          <p:cNvPr id="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6313856"/>
              </p:ext>
            </p:extLst>
          </p:nvPr>
        </p:nvGraphicFramePr>
        <p:xfrm>
          <a:off x="-11473" y="1579667"/>
          <a:ext cx="9282199" cy="4441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Sub-divided 100% Column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23840920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846755" y="478026"/>
            <a:ext cx="2158363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 smtClean="0">
                <a:solidFill>
                  <a:srgbClr val="FF952E"/>
                </a:solidFill>
              </a:rPr>
              <a:t>PIE CHARTS</a:t>
            </a:r>
            <a:endParaRPr lang="en-US" sz="3200" b="1" dirty="0">
              <a:solidFill>
                <a:srgbClr val="FF952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46" y="1439006"/>
            <a:ext cx="3035943" cy="21043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715" y="1441889"/>
            <a:ext cx="3033620" cy="2098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322" y="1441086"/>
            <a:ext cx="3027625" cy="2100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574" y="3629056"/>
            <a:ext cx="3035464" cy="210403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870" y="3630331"/>
            <a:ext cx="3040090" cy="210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02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0106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3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9170932"/>
              </p:ext>
            </p:extLst>
          </p:nvPr>
        </p:nvGraphicFramePr>
        <p:xfrm>
          <a:off x="-53503" y="1349530"/>
          <a:ext cx="10024114" cy="4744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type="body" idx="13"/>
            <p:custDataLst>
              <p:tags r:id="rId4"/>
            </p:custDataLst>
          </p:nvPr>
        </p:nvSpPr>
        <p:spPr>
          <a:xfrm>
            <a:off x="496231" y="1580503"/>
            <a:ext cx="8891323" cy="324498"/>
          </a:xfrm>
        </p:spPr>
        <p:txBody>
          <a:bodyPr/>
          <a:lstStyle/>
          <a:p>
            <a:r>
              <a:rPr lang="en-US" sz="1400" dirty="0" smtClean="0">
                <a:solidFill>
                  <a:schemeClr val="tx1"/>
                </a:solidFill>
              </a:rPr>
              <a:t>100% = $150M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60108" name="AcnFootnote_ID_26010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7340" y="5702907"/>
            <a:ext cx="9216364" cy="692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 as required (each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Double-click on a slice to change the color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In the options menu you can choose the rotation of the chart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Pie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3906672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3700534"/>
              </p:ext>
            </p:extLst>
          </p:nvPr>
        </p:nvGraphicFramePr>
        <p:xfrm>
          <a:off x="481287" y="1484785"/>
          <a:ext cx="3434425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2966086"/>
              </p:ext>
            </p:extLst>
          </p:nvPr>
        </p:nvGraphicFramePr>
        <p:xfrm>
          <a:off x="5975416" y="1484784"/>
          <a:ext cx="3434425" cy="3408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4392348" y="2015246"/>
            <a:ext cx="1121304" cy="2127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72000" tIns="0" rIns="72000" b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200" dirty="0">
                <a:solidFill>
                  <a:schemeClr val="tx1"/>
                </a:solidFill>
              </a:rPr>
              <a:t>Label A</a:t>
            </a: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4392348" y="4123726"/>
            <a:ext cx="1121304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72000" tIns="0" rIns="72000" bIns="0" anchor="ctr">
            <a:spAutoFit/>
          </a:bodyPr>
          <a:lstStyle/>
          <a:p>
            <a:pPr algn="ctr" eaLnBrk="0" hangingPunct="0">
              <a:spcBef>
                <a:spcPct val="0"/>
              </a:spcBef>
            </a:pPr>
            <a:r>
              <a:rPr lang="en-US" sz="1200" dirty="0">
                <a:solidFill>
                  <a:schemeClr val="tx1"/>
                </a:solidFill>
              </a:rPr>
              <a:t>Label C</a:t>
            </a:r>
          </a:p>
        </p:txBody>
      </p:sp>
      <p:sp>
        <p:nvSpPr>
          <p:cNvPr id="21" name="AcnFootnote_ID_26114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7340" y="5509716"/>
            <a:ext cx="9216364" cy="8720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This chart consists of two separate pie charts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Insert columns as required (each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Double-click on a slice to change the color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4	In the options menu you can choose the rotation of the chart</a:t>
            </a:r>
          </a:p>
        </p:txBody>
      </p:sp>
      <p:sp>
        <p:nvSpPr>
          <p:cNvPr id="25" name="Inhaltsplatzhalter 19"/>
          <p:cNvSpPr txBox="1">
            <a:spLocks/>
          </p:cNvSpPr>
          <p:nvPr/>
        </p:nvSpPr>
        <p:spPr>
          <a:xfrm>
            <a:off x="4927204" y="1266740"/>
            <a:ext cx="4612481" cy="398065"/>
          </a:xfrm>
          <a:prstGeom prst="rect">
            <a:avLst/>
          </a:prstGeom>
        </p:spPr>
        <p:txBody>
          <a:bodyPr lIns="0" tIns="0" rIns="0" bIns="0"/>
          <a:lstStyle/>
          <a:p>
            <a:pPr eaLnBrk="0" hangingPunct="0"/>
            <a:r>
              <a:rPr lang="en-US" sz="1400" b="1" dirty="0" smtClean="0"/>
              <a:t>100% = 10.500 customers</a:t>
            </a:r>
          </a:p>
        </p:txBody>
      </p:sp>
      <p:sp>
        <p:nvSpPr>
          <p:cNvPr id="26" name="Inhaltsplatzhalter 19"/>
          <p:cNvSpPr txBox="1">
            <a:spLocks/>
          </p:cNvSpPr>
          <p:nvPr/>
        </p:nvSpPr>
        <p:spPr>
          <a:xfrm>
            <a:off x="491714" y="1266740"/>
            <a:ext cx="4227261" cy="398065"/>
          </a:xfrm>
          <a:prstGeom prst="rect">
            <a:avLst/>
          </a:prstGeom>
        </p:spPr>
        <p:txBody>
          <a:bodyPr lIns="0" tIns="0" rIns="0" bIns="0"/>
          <a:lstStyle/>
          <a:p>
            <a:pPr eaLnBrk="0" hangingPunct="0"/>
            <a:r>
              <a:rPr lang="en-US" sz="1400" b="1" dirty="0"/>
              <a:t>100% = $150M</a:t>
            </a:r>
          </a:p>
        </p:txBody>
      </p:sp>
      <p:cxnSp>
        <p:nvCxnSpPr>
          <p:cNvPr id="27" name="Straight Connector 26"/>
          <p:cNvCxnSpPr>
            <a:stCxn id="19" idx="3"/>
          </p:cNvCxnSpPr>
          <p:nvPr/>
        </p:nvCxnSpPr>
        <p:spPr>
          <a:xfrm flipV="1">
            <a:off x="5513652" y="2121608"/>
            <a:ext cx="2793721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612741" y="4208928"/>
            <a:ext cx="1750412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10"/>
          <p:cNvSpPr txBox="1">
            <a:spLocks noChangeArrowheads="1"/>
          </p:cNvSpPr>
          <p:nvPr/>
        </p:nvSpPr>
        <p:spPr bwMode="auto">
          <a:xfrm>
            <a:off x="4392348" y="3069487"/>
            <a:ext cx="1121304" cy="2127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72000" tIns="0" rIns="72000" bIns="0" anchor="ctr"/>
          <a:lstStyle/>
          <a:p>
            <a:pPr algn="ctr" eaLnBrk="0" hangingPunct="0">
              <a:spcBef>
                <a:spcPct val="0"/>
              </a:spcBef>
            </a:pPr>
            <a:r>
              <a:rPr lang="en-US" sz="1200" dirty="0">
                <a:solidFill>
                  <a:schemeClr val="tx1"/>
                </a:solidFill>
              </a:rPr>
              <a:t>Label B</a:t>
            </a:r>
          </a:p>
        </p:txBody>
      </p:sp>
      <p:cxnSp>
        <p:nvCxnSpPr>
          <p:cNvPr id="30" name="Straight Connector 29"/>
          <p:cNvCxnSpPr/>
          <p:nvPr/>
        </p:nvCxnSpPr>
        <p:spPr>
          <a:xfrm flipV="1">
            <a:off x="5513652" y="3177677"/>
            <a:ext cx="1719792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2612741" y="3177677"/>
            <a:ext cx="1750412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598628" y="2121609"/>
            <a:ext cx="2764525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5513652" y="4208928"/>
            <a:ext cx="1719792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Double Pie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9427932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3790989"/>
              </p:ext>
            </p:extLst>
          </p:nvPr>
        </p:nvGraphicFramePr>
        <p:xfrm>
          <a:off x="428497" y="1125762"/>
          <a:ext cx="8073897" cy="386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2151" name="AcnFootnote_ID_26215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1714" y="4970686"/>
            <a:ext cx="8902689" cy="14106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82563" indent="-182563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 to add slices in pie as required (each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AutoNum type="arabicPlain" startAt="2"/>
            </a:pPr>
            <a:r>
              <a:rPr lang="en-US" sz="1000" dirty="0" smtClean="0">
                <a:solidFill>
                  <a:schemeClr val="tx1"/>
                </a:solidFill>
              </a:rPr>
              <a:t>Double-click </a:t>
            </a:r>
            <a:r>
              <a:rPr lang="en-US" sz="1000" dirty="0">
                <a:solidFill>
                  <a:schemeClr val="tx1"/>
                </a:solidFill>
              </a:rPr>
              <a:t>on a slice to change the </a:t>
            </a:r>
            <a:r>
              <a:rPr lang="en-US" sz="1000" dirty="0" smtClean="0">
                <a:solidFill>
                  <a:schemeClr val="tx1"/>
                </a:solidFill>
              </a:rPr>
              <a:t>color</a:t>
            </a:r>
          </a:p>
          <a:p>
            <a:pPr marL="144000" indent="-14400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AutoNum type="arabicPlain" startAt="2"/>
            </a:pPr>
            <a:r>
              <a:rPr lang="en-US" sz="1000" dirty="0"/>
              <a:t>To insert segments in bar chart: </a:t>
            </a:r>
            <a:endParaRPr lang="en-US" sz="1000" dirty="0" smtClean="0"/>
          </a:p>
          <a:p>
            <a:pPr marL="266700" indent="-8890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pitchFamily="34" charset="0"/>
              <a:buChar char="–"/>
            </a:pPr>
            <a:r>
              <a:rPr lang="en-US" sz="1000" dirty="0" smtClean="0"/>
              <a:t>Double-click </a:t>
            </a:r>
            <a:r>
              <a:rPr lang="en-US" sz="1000" dirty="0"/>
              <a:t>on chart, click on either bar </a:t>
            </a:r>
            <a:r>
              <a:rPr lang="en-US" sz="1000" dirty="0" smtClean="0"/>
              <a:t>segment</a:t>
            </a:r>
          </a:p>
          <a:p>
            <a:pPr marL="266700" indent="-8890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pitchFamily="34" charset="0"/>
              <a:buChar char="–"/>
            </a:pPr>
            <a:r>
              <a:rPr lang="en-US" sz="1000" dirty="0" smtClean="0"/>
              <a:t>Right </a:t>
            </a:r>
            <a:r>
              <a:rPr lang="en-US" sz="1000" dirty="0"/>
              <a:t>mouse -&gt; Format Data </a:t>
            </a:r>
            <a:r>
              <a:rPr lang="en-US" sz="1000" dirty="0" smtClean="0"/>
              <a:t>Point…</a:t>
            </a:r>
          </a:p>
          <a:p>
            <a:pPr marL="266700" indent="-8890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pitchFamily="34" charset="0"/>
              <a:buChar char="–"/>
            </a:pPr>
            <a:r>
              <a:rPr lang="en-US" sz="1000" dirty="0" smtClean="0"/>
              <a:t>Select </a:t>
            </a:r>
            <a:r>
              <a:rPr lang="en-US" sz="1000" dirty="0"/>
              <a:t>Options tab, increase the number after “Second plot contains the </a:t>
            </a:r>
            <a:r>
              <a:rPr lang="en-US" sz="1000" dirty="0" smtClean="0"/>
              <a:t>last…”</a:t>
            </a:r>
          </a:p>
          <a:p>
            <a:pPr marL="266700" indent="-88900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pitchFamily="34" charset="0"/>
              <a:buChar char="–"/>
            </a:pPr>
            <a:r>
              <a:rPr lang="en-US" sz="1000" dirty="0" smtClean="0"/>
              <a:t>Insert </a:t>
            </a:r>
            <a:r>
              <a:rPr lang="en-US" sz="1000" dirty="0"/>
              <a:t>columns as </a:t>
            </a:r>
            <a:r>
              <a:rPr lang="en-US" sz="1000" dirty="0" smtClean="0"/>
              <a:t>requir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" name="Inhaltsplatzhalter 19"/>
          <p:cNvSpPr txBox="1">
            <a:spLocks/>
          </p:cNvSpPr>
          <p:nvPr/>
        </p:nvSpPr>
        <p:spPr>
          <a:xfrm>
            <a:off x="491714" y="1266740"/>
            <a:ext cx="4227261" cy="398065"/>
          </a:xfrm>
          <a:prstGeom prst="rect">
            <a:avLst/>
          </a:prstGeom>
        </p:spPr>
        <p:txBody>
          <a:bodyPr lIns="0" tIns="0" rIns="0" bIns="0"/>
          <a:lstStyle/>
          <a:p>
            <a:pPr eaLnBrk="0" hangingPunct="0"/>
            <a:r>
              <a:rPr lang="en-US" sz="1400" b="1" dirty="0"/>
              <a:t>100% = $150M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ombination Pie and Column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33193590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2036521"/>
              </p:ext>
            </p:extLst>
          </p:nvPr>
        </p:nvGraphicFramePr>
        <p:xfrm>
          <a:off x="272480" y="1592796"/>
          <a:ext cx="6119245" cy="4113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3173" name="Text Box 5"/>
          <p:cNvSpPr txBox="1">
            <a:spLocks noChangeArrowheads="1"/>
          </p:cNvSpPr>
          <p:nvPr/>
        </p:nvSpPr>
        <p:spPr bwMode="auto">
          <a:xfrm flipH="1">
            <a:off x="7707794" y="1838915"/>
            <a:ext cx="645543" cy="18466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72000" tIns="0" rIns="72000" bIns="0">
            <a:spAutoFit/>
          </a:bodyPr>
          <a:lstStyle/>
          <a:p>
            <a:pPr algn="l" eaLnBrk="0" hangingPunct="0">
              <a:spcBef>
                <a:spcPct val="50000"/>
              </a:spcBef>
            </a:pPr>
            <a:r>
              <a:rPr lang="en-US" sz="1200" dirty="0">
                <a:solidFill>
                  <a:schemeClr val="tx1"/>
                </a:solidFill>
              </a:rPr>
              <a:t>Graph 1</a:t>
            </a:r>
          </a:p>
        </p:txBody>
      </p:sp>
      <p:sp>
        <p:nvSpPr>
          <p:cNvPr id="263174" name="Text Box 6"/>
          <p:cNvSpPr txBox="1">
            <a:spLocks noChangeArrowheads="1"/>
          </p:cNvSpPr>
          <p:nvPr/>
        </p:nvSpPr>
        <p:spPr bwMode="auto">
          <a:xfrm flipH="1">
            <a:off x="7707794" y="2481433"/>
            <a:ext cx="645543" cy="18466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72000" tIns="0" rIns="72000" bIns="0">
            <a:spAutoFit/>
          </a:bodyPr>
          <a:lstStyle/>
          <a:p>
            <a:pPr algn="l" eaLnBrk="0" hangingPunct="0">
              <a:spcBef>
                <a:spcPct val="50000"/>
              </a:spcBef>
            </a:pPr>
            <a:r>
              <a:rPr lang="en-US" sz="1200" dirty="0">
                <a:solidFill>
                  <a:schemeClr val="tx1"/>
                </a:solidFill>
              </a:rPr>
              <a:t>Graph 2</a:t>
            </a:r>
          </a:p>
        </p:txBody>
      </p:sp>
      <p:sp>
        <p:nvSpPr>
          <p:cNvPr id="263175" name="Text Box 7"/>
          <p:cNvSpPr txBox="1">
            <a:spLocks noChangeArrowheads="1"/>
          </p:cNvSpPr>
          <p:nvPr/>
        </p:nvSpPr>
        <p:spPr bwMode="auto">
          <a:xfrm flipH="1">
            <a:off x="7707793" y="3136161"/>
            <a:ext cx="645543" cy="18466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72000" tIns="0" rIns="72000" bIns="0">
            <a:spAutoFit/>
          </a:bodyPr>
          <a:lstStyle/>
          <a:p>
            <a:pPr algn="l" eaLnBrk="0" hangingPunct="0">
              <a:spcBef>
                <a:spcPct val="50000"/>
              </a:spcBef>
            </a:pPr>
            <a:r>
              <a:rPr lang="en-US" sz="1200" dirty="0">
                <a:solidFill>
                  <a:schemeClr val="tx1"/>
                </a:solidFill>
              </a:rPr>
              <a:t>Graph 3</a:t>
            </a:r>
          </a:p>
        </p:txBody>
      </p:sp>
      <p:sp>
        <p:nvSpPr>
          <p:cNvPr id="263179" name="AcnFootnote_ID_26317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0515" y="5868368"/>
            <a:ext cx="9216364" cy="5129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/rows as required (each slice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Edit and add (if necessary) graph names </a:t>
            </a:r>
            <a:r>
              <a:rPr lang="en-US" sz="1000" dirty="0" smtClean="0">
                <a:solidFill>
                  <a:schemeClr val="tx1"/>
                </a:solidFill>
              </a:rPr>
              <a:t>manually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924775" y="1931249"/>
            <a:ext cx="4587920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924775" y="2573767"/>
            <a:ext cx="4587920" cy="1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924775" y="3216285"/>
            <a:ext cx="458792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ombination Pie Chart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9379407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162347" y="478026"/>
            <a:ext cx="1527181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 smtClean="0">
                <a:solidFill>
                  <a:srgbClr val="FF952E"/>
                </a:solidFill>
              </a:rPr>
              <a:t>CIRCLES</a:t>
            </a:r>
            <a:endParaRPr lang="en-US" sz="3200" b="1" dirty="0">
              <a:solidFill>
                <a:srgbClr val="FF952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67" y="1439006"/>
            <a:ext cx="3040101" cy="21043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715" y="1440449"/>
            <a:ext cx="3033620" cy="21014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322" y="1443963"/>
            <a:ext cx="3027625" cy="2094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23" y="3628890"/>
            <a:ext cx="3037787" cy="210436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793" y="3631135"/>
            <a:ext cx="3035464" cy="209987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60" y="3630331"/>
            <a:ext cx="3041948" cy="210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02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6" name="Oval 10"/>
          <p:cNvSpPr>
            <a:spLocks noChangeArrowheads="1"/>
          </p:cNvSpPr>
          <p:nvPr/>
        </p:nvSpPr>
        <p:spPr bwMode="auto">
          <a:xfrm>
            <a:off x="818541" y="1412776"/>
            <a:ext cx="4913445" cy="47499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</a:pPr>
            <a:r>
              <a:rPr lang="en-US" b="1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4587" name="Oval 11"/>
          <p:cNvSpPr>
            <a:spLocks noChangeArrowheads="1"/>
          </p:cNvSpPr>
          <p:nvPr/>
        </p:nvSpPr>
        <p:spPr bwMode="auto">
          <a:xfrm>
            <a:off x="4153218" y="1412776"/>
            <a:ext cx="4913444" cy="4749924"/>
          </a:xfrm>
          <a:prstGeom prst="ellipse">
            <a:avLst/>
          </a:prstGeom>
          <a:solidFill>
            <a:schemeClr val="bg1">
              <a:lumMod val="85000"/>
            </a:schemeClr>
          </a:solidFill>
          <a:ln w="6350">
            <a:noFill/>
            <a:round/>
            <a:headEnd/>
            <a:tailEnd/>
          </a:ln>
          <a:effectLst/>
        </p:spPr>
        <p:txBody>
          <a:bodyPr lIns="1260000" tIns="72000" rIns="72000" bIns="72000" anchor="ctr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</a:pPr>
            <a:r>
              <a:rPr lang="en-US" b="1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4588" name="Freeform 12"/>
          <p:cNvSpPr>
            <a:spLocks/>
          </p:cNvSpPr>
          <p:nvPr/>
        </p:nvSpPr>
        <p:spPr bwMode="auto">
          <a:xfrm>
            <a:off x="4153218" y="2076459"/>
            <a:ext cx="1577048" cy="3490929"/>
          </a:xfrm>
          <a:custGeom>
            <a:avLst/>
            <a:gdLst/>
            <a:ahLst/>
            <a:cxnLst>
              <a:cxn ang="0">
                <a:pos x="384" y="1925"/>
              </a:cxn>
              <a:cxn ang="0">
                <a:pos x="293" y="1824"/>
              </a:cxn>
              <a:cxn ang="0">
                <a:pos x="213" y="1712"/>
              </a:cxn>
              <a:cxn ang="0">
                <a:pos x="146" y="1595"/>
              </a:cxn>
              <a:cxn ang="0">
                <a:pos x="90" y="1469"/>
              </a:cxn>
              <a:cxn ang="0">
                <a:pos x="46" y="1338"/>
              </a:cxn>
              <a:cxn ang="0">
                <a:pos x="17" y="1200"/>
              </a:cxn>
              <a:cxn ang="0">
                <a:pos x="4" y="1094"/>
              </a:cxn>
              <a:cxn ang="0">
                <a:pos x="0" y="1023"/>
              </a:cxn>
              <a:cxn ang="0">
                <a:pos x="0" y="950"/>
              </a:cxn>
              <a:cxn ang="0">
                <a:pos x="4" y="878"/>
              </a:cxn>
              <a:cxn ang="0">
                <a:pos x="17" y="772"/>
              </a:cxn>
              <a:cxn ang="0">
                <a:pos x="46" y="634"/>
              </a:cxn>
              <a:cxn ang="0">
                <a:pos x="90" y="503"/>
              </a:cxn>
              <a:cxn ang="0">
                <a:pos x="146" y="377"/>
              </a:cxn>
              <a:cxn ang="0">
                <a:pos x="213" y="260"/>
              </a:cxn>
              <a:cxn ang="0">
                <a:pos x="293" y="148"/>
              </a:cxn>
              <a:cxn ang="0">
                <a:pos x="384" y="47"/>
              </a:cxn>
              <a:cxn ang="0">
                <a:pos x="479" y="47"/>
              </a:cxn>
              <a:cxn ang="0">
                <a:pos x="570" y="148"/>
              </a:cxn>
              <a:cxn ang="0">
                <a:pos x="650" y="260"/>
              </a:cxn>
              <a:cxn ang="0">
                <a:pos x="717" y="377"/>
              </a:cxn>
              <a:cxn ang="0">
                <a:pos x="773" y="503"/>
              </a:cxn>
              <a:cxn ang="0">
                <a:pos x="817" y="634"/>
              </a:cxn>
              <a:cxn ang="0">
                <a:pos x="846" y="772"/>
              </a:cxn>
              <a:cxn ang="0">
                <a:pos x="859" y="878"/>
              </a:cxn>
              <a:cxn ang="0">
                <a:pos x="863" y="950"/>
              </a:cxn>
              <a:cxn ang="0">
                <a:pos x="863" y="1023"/>
              </a:cxn>
              <a:cxn ang="0">
                <a:pos x="859" y="1094"/>
              </a:cxn>
              <a:cxn ang="0">
                <a:pos x="846" y="1200"/>
              </a:cxn>
              <a:cxn ang="0">
                <a:pos x="817" y="1338"/>
              </a:cxn>
              <a:cxn ang="0">
                <a:pos x="773" y="1469"/>
              </a:cxn>
              <a:cxn ang="0">
                <a:pos x="717" y="1595"/>
              </a:cxn>
              <a:cxn ang="0">
                <a:pos x="650" y="1712"/>
              </a:cxn>
              <a:cxn ang="0">
                <a:pos x="570" y="1824"/>
              </a:cxn>
              <a:cxn ang="0">
                <a:pos x="479" y="1925"/>
              </a:cxn>
            </a:cxnLst>
            <a:rect l="0" t="0" r="r" b="b"/>
            <a:pathLst>
              <a:path w="863" h="1972">
                <a:moveTo>
                  <a:pt x="432" y="1972"/>
                </a:moveTo>
                <a:lnTo>
                  <a:pt x="384" y="1925"/>
                </a:lnTo>
                <a:lnTo>
                  <a:pt x="337" y="1876"/>
                </a:lnTo>
                <a:lnTo>
                  <a:pt x="293" y="1824"/>
                </a:lnTo>
                <a:lnTo>
                  <a:pt x="251" y="1770"/>
                </a:lnTo>
                <a:lnTo>
                  <a:pt x="213" y="1712"/>
                </a:lnTo>
                <a:lnTo>
                  <a:pt x="178" y="1655"/>
                </a:lnTo>
                <a:lnTo>
                  <a:pt x="146" y="1595"/>
                </a:lnTo>
                <a:lnTo>
                  <a:pt x="115" y="1534"/>
                </a:lnTo>
                <a:lnTo>
                  <a:pt x="90" y="1469"/>
                </a:lnTo>
                <a:lnTo>
                  <a:pt x="65" y="1405"/>
                </a:lnTo>
                <a:lnTo>
                  <a:pt x="46" y="1338"/>
                </a:lnTo>
                <a:lnTo>
                  <a:pt x="28" y="1269"/>
                </a:lnTo>
                <a:lnTo>
                  <a:pt x="17" y="1200"/>
                </a:lnTo>
                <a:lnTo>
                  <a:pt x="7" y="1131"/>
                </a:lnTo>
                <a:lnTo>
                  <a:pt x="4" y="1094"/>
                </a:lnTo>
                <a:lnTo>
                  <a:pt x="2" y="1060"/>
                </a:lnTo>
                <a:lnTo>
                  <a:pt x="0" y="1023"/>
                </a:lnTo>
                <a:lnTo>
                  <a:pt x="0" y="987"/>
                </a:lnTo>
                <a:lnTo>
                  <a:pt x="0" y="950"/>
                </a:lnTo>
                <a:lnTo>
                  <a:pt x="2" y="914"/>
                </a:lnTo>
                <a:lnTo>
                  <a:pt x="4" y="878"/>
                </a:lnTo>
                <a:lnTo>
                  <a:pt x="7" y="843"/>
                </a:lnTo>
                <a:lnTo>
                  <a:pt x="17" y="772"/>
                </a:lnTo>
                <a:lnTo>
                  <a:pt x="28" y="703"/>
                </a:lnTo>
                <a:lnTo>
                  <a:pt x="46" y="634"/>
                </a:lnTo>
                <a:lnTo>
                  <a:pt x="65" y="569"/>
                </a:lnTo>
                <a:lnTo>
                  <a:pt x="90" y="503"/>
                </a:lnTo>
                <a:lnTo>
                  <a:pt x="115" y="440"/>
                </a:lnTo>
                <a:lnTo>
                  <a:pt x="146" y="377"/>
                </a:lnTo>
                <a:lnTo>
                  <a:pt x="178" y="317"/>
                </a:lnTo>
                <a:lnTo>
                  <a:pt x="213" y="260"/>
                </a:lnTo>
                <a:lnTo>
                  <a:pt x="251" y="204"/>
                </a:lnTo>
                <a:lnTo>
                  <a:pt x="293" y="148"/>
                </a:lnTo>
                <a:lnTo>
                  <a:pt x="337" y="96"/>
                </a:lnTo>
                <a:lnTo>
                  <a:pt x="384" y="47"/>
                </a:lnTo>
                <a:lnTo>
                  <a:pt x="432" y="0"/>
                </a:lnTo>
                <a:lnTo>
                  <a:pt x="479" y="47"/>
                </a:lnTo>
                <a:lnTo>
                  <a:pt x="526" y="96"/>
                </a:lnTo>
                <a:lnTo>
                  <a:pt x="570" y="148"/>
                </a:lnTo>
                <a:lnTo>
                  <a:pt x="612" y="204"/>
                </a:lnTo>
                <a:lnTo>
                  <a:pt x="650" y="260"/>
                </a:lnTo>
                <a:lnTo>
                  <a:pt x="685" y="317"/>
                </a:lnTo>
                <a:lnTo>
                  <a:pt x="717" y="377"/>
                </a:lnTo>
                <a:lnTo>
                  <a:pt x="748" y="440"/>
                </a:lnTo>
                <a:lnTo>
                  <a:pt x="773" y="503"/>
                </a:lnTo>
                <a:lnTo>
                  <a:pt x="798" y="569"/>
                </a:lnTo>
                <a:lnTo>
                  <a:pt x="817" y="634"/>
                </a:lnTo>
                <a:lnTo>
                  <a:pt x="835" y="703"/>
                </a:lnTo>
                <a:lnTo>
                  <a:pt x="846" y="772"/>
                </a:lnTo>
                <a:lnTo>
                  <a:pt x="856" y="843"/>
                </a:lnTo>
                <a:lnTo>
                  <a:pt x="859" y="878"/>
                </a:lnTo>
                <a:lnTo>
                  <a:pt x="861" y="914"/>
                </a:lnTo>
                <a:lnTo>
                  <a:pt x="863" y="950"/>
                </a:lnTo>
                <a:lnTo>
                  <a:pt x="863" y="987"/>
                </a:lnTo>
                <a:lnTo>
                  <a:pt x="863" y="1023"/>
                </a:lnTo>
                <a:lnTo>
                  <a:pt x="861" y="1060"/>
                </a:lnTo>
                <a:lnTo>
                  <a:pt x="859" y="1094"/>
                </a:lnTo>
                <a:lnTo>
                  <a:pt x="856" y="1131"/>
                </a:lnTo>
                <a:lnTo>
                  <a:pt x="846" y="1200"/>
                </a:lnTo>
                <a:lnTo>
                  <a:pt x="835" y="1269"/>
                </a:lnTo>
                <a:lnTo>
                  <a:pt x="817" y="1338"/>
                </a:lnTo>
                <a:lnTo>
                  <a:pt x="798" y="1405"/>
                </a:lnTo>
                <a:lnTo>
                  <a:pt x="773" y="1469"/>
                </a:lnTo>
                <a:lnTo>
                  <a:pt x="748" y="1534"/>
                </a:lnTo>
                <a:lnTo>
                  <a:pt x="717" y="1595"/>
                </a:lnTo>
                <a:lnTo>
                  <a:pt x="685" y="1655"/>
                </a:lnTo>
                <a:lnTo>
                  <a:pt x="650" y="1712"/>
                </a:lnTo>
                <a:lnTo>
                  <a:pt x="612" y="1770"/>
                </a:lnTo>
                <a:lnTo>
                  <a:pt x="570" y="1824"/>
                </a:lnTo>
                <a:lnTo>
                  <a:pt x="526" y="1876"/>
                </a:lnTo>
                <a:lnTo>
                  <a:pt x="479" y="1925"/>
                </a:lnTo>
                <a:lnTo>
                  <a:pt x="432" y="1972"/>
                </a:lnTo>
              </a:path>
            </a:pathLst>
          </a:custGeom>
          <a:solidFill>
            <a:srgbClr val="FF6600"/>
          </a:solidFill>
          <a:ln w="6350" cmpd="sng">
            <a:noFill/>
            <a:prstDash val="solid"/>
            <a:round/>
            <a:headEnd/>
            <a:tailEnd/>
          </a:ln>
        </p:spPr>
        <p:txBody>
          <a:bodyPr lIns="45720" rIns="45720" anchor="ctr" anchorCtr="1"/>
          <a:lstStyle/>
          <a:p>
            <a:endParaRPr lang="en-US"/>
          </a:p>
        </p:txBody>
      </p:sp>
      <p:sp>
        <p:nvSpPr>
          <p:cNvPr id="24589" name="Rectangle 13"/>
          <p:cNvSpPr>
            <a:spLocks noChangeArrowheads="1"/>
          </p:cNvSpPr>
          <p:nvPr/>
        </p:nvSpPr>
        <p:spPr bwMode="auto">
          <a:xfrm>
            <a:off x="4428385" y="3269517"/>
            <a:ext cx="1028435" cy="2769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eaLnBrk="0" hangingPunct="0"/>
            <a:r>
              <a:rPr lang="en-US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Interlocking Circles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98168164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Oval 4"/>
          <p:cNvSpPr>
            <a:spLocks noChangeArrowheads="1"/>
          </p:cNvSpPr>
          <p:nvPr/>
        </p:nvSpPr>
        <p:spPr bwMode="auto">
          <a:xfrm>
            <a:off x="3388917" y="1268760"/>
            <a:ext cx="3112823" cy="3079305"/>
          </a:xfrm>
          <a:prstGeom prst="ellipse">
            <a:avLst/>
          </a:prstGeom>
          <a:solidFill>
            <a:srgbClr val="D9D9D9"/>
          </a:solidFill>
          <a:ln w="6350">
            <a:noFill/>
            <a:round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6629" name="Oval 5"/>
          <p:cNvSpPr>
            <a:spLocks noChangeArrowheads="1"/>
          </p:cNvSpPr>
          <p:nvPr/>
        </p:nvSpPr>
        <p:spPr bwMode="auto">
          <a:xfrm>
            <a:off x="2324365" y="2891185"/>
            <a:ext cx="3111104" cy="3079305"/>
          </a:xfrm>
          <a:prstGeom prst="ellipse">
            <a:avLst/>
          </a:prstGeom>
          <a:solidFill>
            <a:srgbClr val="D9D9D9"/>
          </a:solidFill>
          <a:ln w="6350">
            <a:noFill/>
            <a:round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6630" name="Oval 6"/>
          <p:cNvSpPr>
            <a:spLocks noChangeArrowheads="1"/>
          </p:cNvSpPr>
          <p:nvPr/>
        </p:nvSpPr>
        <p:spPr bwMode="auto">
          <a:xfrm>
            <a:off x="4455188" y="2891185"/>
            <a:ext cx="3111103" cy="3079305"/>
          </a:xfrm>
          <a:prstGeom prst="ellipse">
            <a:avLst/>
          </a:prstGeom>
          <a:solidFill>
            <a:srgbClr val="D9D9D9"/>
          </a:solidFill>
          <a:ln w="6350">
            <a:noFill/>
            <a:round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6631" name="Freeform 7"/>
          <p:cNvSpPr>
            <a:spLocks/>
          </p:cNvSpPr>
          <p:nvPr/>
        </p:nvSpPr>
        <p:spPr bwMode="auto">
          <a:xfrm>
            <a:off x="3409555" y="2967533"/>
            <a:ext cx="2010436" cy="1378943"/>
          </a:xfrm>
          <a:custGeom>
            <a:avLst/>
            <a:gdLst/>
            <a:ahLst/>
            <a:cxnLst>
              <a:cxn ang="0">
                <a:pos x="1146" y="783"/>
              </a:cxn>
              <a:cxn ang="0">
                <a:pos x="1079" y="801"/>
              </a:cxn>
              <a:cxn ang="0">
                <a:pos x="1009" y="812"/>
              </a:cxn>
              <a:cxn ang="0">
                <a:pos x="938" y="816"/>
              </a:cxn>
              <a:cxn ang="0">
                <a:pos x="860" y="816"/>
              </a:cxn>
              <a:cxn ang="0">
                <a:pos x="775" y="808"/>
              </a:cxn>
              <a:cxn ang="0">
                <a:pos x="695" y="793"/>
              </a:cxn>
              <a:cxn ang="0">
                <a:pos x="616" y="772"/>
              </a:cxn>
              <a:cxn ang="0">
                <a:pos x="541" y="743"/>
              </a:cxn>
              <a:cxn ang="0">
                <a:pos x="468" y="708"/>
              </a:cxn>
              <a:cxn ang="0">
                <a:pos x="399" y="666"/>
              </a:cxn>
              <a:cxn ang="0">
                <a:pos x="336" y="620"/>
              </a:cxn>
              <a:cxn ang="0">
                <a:pos x="274" y="568"/>
              </a:cxn>
              <a:cxn ang="0">
                <a:pos x="221" y="511"/>
              </a:cxn>
              <a:cxn ang="0">
                <a:pos x="169" y="449"/>
              </a:cxn>
              <a:cxn ang="0">
                <a:pos x="125" y="384"/>
              </a:cxn>
              <a:cxn ang="0">
                <a:pos x="86" y="313"/>
              </a:cxn>
              <a:cxn ang="0">
                <a:pos x="52" y="240"/>
              </a:cxn>
              <a:cxn ang="0">
                <a:pos x="27" y="163"/>
              </a:cxn>
              <a:cxn ang="0">
                <a:pos x="6" y="85"/>
              </a:cxn>
              <a:cxn ang="0">
                <a:pos x="33" y="35"/>
              </a:cxn>
              <a:cxn ang="0">
                <a:pos x="100" y="17"/>
              </a:cxn>
              <a:cxn ang="0">
                <a:pos x="171" y="6"/>
              </a:cxn>
              <a:cxn ang="0">
                <a:pos x="242" y="2"/>
              </a:cxn>
              <a:cxn ang="0">
                <a:pos x="320" y="2"/>
              </a:cxn>
              <a:cxn ang="0">
                <a:pos x="403" y="10"/>
              </a:cxn>
              <a:cxn ang="0">
                <a:pos x="484" y="25"/>
              </a:cxn>
              <a:cxn ang="0">
                <a:pos x="562" y="46"/>
              </a:cxn>
              <a:cxn ang="0">
                <a:pos x="637" y="75"/>
              </a:cxn>
              <a:cxn ang="0">
                <a:pos x="710" y="110"/>
              </a:cxn>
              <a:cxn ang="0">
                <a:pos x="779" y="152"/>
              </a:cxn>
              <a:cxn ang="0">
                <a:pos x="842" y="198"/>
              </a:cxn>
              <a:cxn ang="0">
                <a:pos x="902" y="250"/>
              </a:cxn>
              <a:cxn ang="0">
                <a:pos x="958" y="307"/>
              </a:cxn>
              <a:cxn ang="0">
                <a:pos x="1008" y="369"/>
              </a:cxn>
              <a:cxn ang="0">
                <a:pos x="1054" y="434"/>
              </a:cxn>
              <a:cxn ang="0">
                <a:pos x="1092" y="505"/>
              </a:cxn>
              <a:cxn ang="0">
                <a:pos x="1125" y="578"/>
              </a:cxn>
              <a:cxn ang="0">
                <a:pos x="1151" y="655"/>
              </a:cxn>
              <a:cxn ang="0">
                <a:pos x="1171" y="733"/>
              </a:cxn>
            </a:cxnLst>
            <a:rect l="0" t="0" r="r" b="b"/>
            <a:pathLst>
              <a:path w="1178" h="818">
                <a:moveTo>
                  <a:pt x="1178" y="774"/>
                </a:moveTo>
                <a:lnTo>
                  <a:pt x="1146" y="783"/>
                </a:lnTo>
                <a:lnTo>
                  <a:pt x="1113" y="793"/>
                </a:lnTo>
                <a:lnTo>
                  <a:pt x="1079" y="801"/>
                </a:lnTo>
                <a:lnTo>
                  <a:pt x="1044" y="806"/>
                </a:lnTo>
                <a:lnTo>
                  <a:pt x="1009" y="812"/>
                </a:lnTo>
                <a:lnTo>
                  <a:pt x="973" y="814"/>
                </a:lnTo>
                <a:lnTo>
                  <a:pt x="938" y="816"/>
                </a:lnTo>
                <a:lnTo>
                  <a:pt x="902" y="818"/>
                </a:lnTo>
                <a:lnTo>
                  <a:pt x="860" y="816"/>
                </a:lnTo>
                <a:lnTo>
                  <a:pt x="818" y="814"/>
                </a:lnTo>
                <a:lnTo>
                  <a:pt x="775" y="808"/>
                </a:lnTo>
                <a:lnTo>
                  <a:pt x="735" y="802"/>
                </a:lnTo>
                <a:lnTo>
                  <a:pt x="695" y="793"/>
                </a:lnTo>
                <a:lnTo>
                  <a:pt x="654" y="783"/>
                </a:lnTo>
                <a:lnTo>
                  <a:pt x="616" y="772"/>
                </a:lnTo>
                <a:lnTo>
                  <a:pt x="578" y="758"/>
                </a:lnTo>
                <a:lnTo>
                  <a:pt x="541" y="743"/>
                </a:lnTo>
                <a:lnTo>
                  <a:pt x="505" y="726"/>
                </a:lnTo>
                <a:lnTo>
                  <a:pt x="468" y="708"/>
                </a:lnTo>
                <a:lnTo>
                  <a:pt x="434" y="687"/>
                </a:lnTo>
                <a:lnTo>
                  <a:pt x="399" y="666"/>
                </a:lnTo>
                <a:lnTo>
                  <a:pt x="366" y="643"/>
                </a:lnTo>
                <a:lnTo>
                  <a:pt x="336" y="620"/>
                </a:lnTo>
                <a:lnTo>
                  <a:pt x="305" y="595"/>
                </a:lnTo>
                <a:lnTo>
                  <a:pt x="274" y="568"/>
                </a:lnTo>
                <a:lnTo>
                  <a:pt x="247" y="540"/>
                </a:lnTo>
                <a:lnTo>
                  <a:pt x="221" y="511"/>
                </a:lnTo>
                <a:lnTo>
                  <a:pt x="194" y="480"/>
                </a:lnTo>
                <a:lnTo>
                  <a:pt x="169" y="449"/>
                </a:lnTo>
                <a:lnTo>
                  <a:pt x="146" y="417"/>
                </a:lnTo>
                <a:lnTo>
                  <a:pt x="125" y="384"/>
                </a:lnTo>
                <a:lnTo>
                  <a:pt x="104" y="350"/>
                </a:lnTo>
                <a:lnTo>
                  <a:pt x="86" y="313"/>
                </a:lnTo>
                <a:lnTo>
                  <a:pt x="69" y="278"/>
                </a:lnTo>
                <a:lnTo>
                  <a:pt x="52" y="240"/>
                </a:lnTo>
                <a:lnTo>
                  <a:pt x="38" y="204"/>
                </a:lnTo>
                <a:lnTo>
                  <a:pt x="27" y="163"/>
                </a:lnTo>
                <a:lnTo>
                  <a:pt x="15" y="125"/>
                </a:lnTo>
                <a:lnTo>
                  <a:pt x="6" y="85"/>
                </a:lnTo>
                <a:lnTo>
                  <a:pt x="0" y="44"/>
                </a:lnTo>
                <a:lnTo>
                  <a:pt x="33" y="35"/>
                </a:lnTo>
                <a:lnTo>
                  <a:pt x="65" y="25"/>
                </a:lnTo>
                <a:lnTo>
                  <a:pt x="100" y="17"/>
                </a:lnTo>
                <a:lnTo>
                  <a:pt x="134" y="12"/>
                </a:lnTo>
                <a:lnTo>
                  <a:pt x="171" y="6"/>
                </a:lnTo>
                <a:lnTo>
                  <a:pt x="205" y="4"/>
                </a:lnTo>
                <a:lnTo>
                  <a:pt x="242" y="2"/>
                </a:lnTo>
                <a:lnTo>
                  <a:pt x="278" y="0"/>
                </a:lnTo>
                <a:lnTo>
                  <a:pt x="320" y="2"/>
                </a:lnTo>
                <a:lnTo>
                  <a:pt x="363" y="4"/>
                </a:lnTo>
                <a:lnTo>
                  <a:pt x="403" y="10"/>
                </a:lnTo>
                <a:lnTo>
                  <a:pt x="443" y="16"/>
                </a:lnTo>
                <a:lnTo>
                  <a:pt x="484" y="25"/>
                </a:lnTo>
                <a:lnTo>
                  <a:pt x="524" y="35"/>
                </a:lnTo>
                <a:lnTo>
                  <a:pt x="562" y="46"/>
                </a:lnTo>
                <a:lnTo>
                  <a:pt x="601" y="60"/>
                </a:lnTo>
                <a:lnTo>
                  <a:pt x="637" y="75"/>
                </a:lnTo>
                <a:lnTo>
                  <a:pt x="674" y="92"/>
                </a:lnTo>
                <a:lnTo>
                  <a:pt x="710" y="110"/>
                </a:lnTo>
                <a:lnTo>
                  <a:pt x="745" y="131"/>
                </a:lnTo>
                <a:lnTo>
                  <a:pt x="779" y="152"/>
                </a:lnTo>
                <a:lnTo>
                  <a:pt x="812" y="175"/>
                </a:lnTo>
                <a:lnTo>
                  <a:pt x="842" y="198"/>
                </a:lnTo>
                <a:lnTo>
                  <a:pt x="873" y="223"/>
                </a:lnTo>
                <a:lnTo>
                  <a:pt x="902" y="250"/>
                </a:lnTo>
                <a:lnTo>
                  <a:pt x="931" y="278"/>
                </a:lnTo>
                <a:lnTo>
                  <a:pt x="958" y="307"/>
                </a:lnTo>
                <a:lnTo>
                  <a:pt x="984" y="338"/>
                </a:lnTo>
                <a:lnTo>
                  <a:pt x="1008" y="369"/>
                </a:lnTo>
                <a:lnTo>
                  <a:pt x="1032" y="401"/>
                </a:lnTo>
                <a:lnTo>
                  <a:pt x="1054" y="434"/>
                </a:lnTo>
                <a:lnTo>
                  <a:pt x="1073" y="468"/>
                </a:lnTo>
                <a:lnTo>
                  <a:pt x="1092" y="505"/>
                </a:lnTo>
                <a:lnTo>
                  <a:pt x="1109" y="540"/>
                </a:lnTo>
                <a:lnTo>
                  <a:pt x="1125" y="578"/>
                </a:lnTo>
                <a:lnTo>
                  <a:pt x="1140" y="616"/>
                </a:lnTo>
                <a:lnTo>
                  <a:pt x="1151" y="655"/>
                </a:lnTo>
                <a:lnTo>
                  <a:pt x="1163" y="693"/>
                </a:lnTo>
                <a:lnTo>
                  <a:pt x="1171" y="733"/>
                </a:lnTo>
                <a:lnTo>
                  <a:pt x="1178" y="774"/>
                </a:lnTo>
                <a:close/>
              </a:path>
            </a:pathLst>
          </a:custGeom>
          <a:solidFill>
            <a:srgbClr val="FF952E"/>
          </a:solidFill>
          <a:ln w="6350" cmpd="sng">
            <a:noFill/>
            <a:round/>
            <a:headEnd/>
            <a:tailEnd/>
          </a:ln>
        </p:spPr>
        <p:txBody>
          <a:bodyPr lIns="45720" rIns="45720" anchor="ctr" anchorCtr="1"/>
          <a:lstStyle/>
          <a:p>
            <a:endParaRPr lang="en-US"/>
          </a:p>
        </p:txBody>
      </p:sp>
      <p:sp>
        <p:nvSpPr>
          <p:cNvPr id="26632" name="Freeform 8"/>
          <p:cNvSpPr>
            <a:spLocks/>
          </p:cNvSpPr>
          <p:nvPr/>
        </p:nvSpPr>
        <p:spPr bwMode="auto">
          <a:xfrm>
            <a:off x="4467226" y="2957153"/>
            <a:ext cx="2029354" cy="1397261"/>
          </a:xfrm>
          <a:custGeom>
            <a:avLst/>
            <a:gdLst/>
            <a:ahLst/>
            <a:cxnLst>
              <a:cxn ang="0">
                <a:pos x="7" y="733"/>
              </a:cxn>
              <a:cxn ang="0">
                <a:pos x="27" y="655"/>
              </a:cxn>
              <a:cxn ang="0">
                <a:pos x="53" y="578"/>
              </a:cxn>
              <a:cxn ang="0">
                <a:pos x="86" y="505"/>
              </a:cxn>
              <a:cxn ang="0">
                <a:pos x="124" y="434"/>
              </a:cxn>
              <a:cxn ang="0">
                <a:pos x="170" y="369"/>
              </a:cxn>
              <a:cxn ang="0">
                <a:pos x="220" y="307"/>
              </a:cxn>
              <a:cxn ang="0">
                <a:pos x="276" y="250"/>
              </a:cxn>
              <a:cxn ang="0">
                <a:pos x="336" y="198"/>
              </a:cxn>
              <a:cxn ang="0">
                <a:pos x="399" y="152"/>
              </a:cxn>
              <a:cxn ang="0">
                <a:pos x="468" y="110"/>
              </a:cxn>
              <a:cxn ang="0">
                <a:pos x="541" y="75"/>
              </a:cxn>
              <a:cxn ang="0">
                <a:pos x="616" y="46"/>
              </a:cxn>
              <a:cxn ang="0">
                <a:pos x="694" y="25"/>
              </a:cxn>
              <a:cxn ang="0">
                <a:pos x="775" y="10"/>
              </a:cxn>
              <a:cxn ang="0">
                <a:pos x="860" y="2"/>
              </a:cxn>
              <a:cxn ang="0">
                <a:pos x="938" y="2"/>
              </a:cxn>
              <a:cxn ang="0">
                <a:pos x="1009" y="6"/>
              </a:cxn>
              <a:cxn ang="0">
                <a:pos x="1078" y="17"/>
              </a:cxn>
              <a:cxn ang="0">
                <a:pos x="1145" y="35"/>
              </a:cxn>
              <a:cxn ang="0">
                <a:pos x="1172" y="85"/>
              </a:cxn>
              <a:cxn ang="0">
                <a:pos x="1151" y="163"/>
              </a:cxn>
              <a:cxn ang="0">
                <a:pos x="1126" y="240"/>
              </a:cxn>
              <a:cxn ang="0">
                <a:pos x="1092" y="313"/>
              </a:cxn>
              <a:cxn ang="0">
                <a:pos x="1053" y="384"/>
              </a:cxn>
              <a:cxn ang="0">
                <a:pos x="1009" y="449"/>
              </a:cxn>
              <a:cxn ang="0">
                <a:pos x="959" y="511"/>
              </a:cxn>
              <a:cxn ang="0">
                <a:pos x="904" y="568"/>
              </a:cxn>
              <a:cxn ang="0">
                <a:pos x="842" y="620"/>
              </a:cxn>
              <a:cxn ang="0">
                <a:pos x="779" y="666"/>
              </a:cxn>
              <a:cxn ang="0">
                <a:pos x="710" y="708"/>
              </a:cxn>
              <a:cxn ang="0">
                <a:pos x="639" y="743"/>
              </a:cxn>
              <a:cxn ang="0">
                <a:pos x="562" y="772"/>
              </a:cxn>
              <a:cxn ang="0">
                <a:pos x="485" y="793"/>
              </a:cxn>
              <a:cxn ang="0">
                <a:pos x="403" y="808"/>
              </a:cxn>
              <a:cxn ang="0">
                <a:pos x="320" y="816"/>
              </a:cxn>
              <a:cxn ang="0">
                <a:pos x="241" y="816"/>
              </a:cxn>
              <a:cxn ang="0">
                <a:pos x="170" y="812"/>
              </a:cxn>
              <a:cxn ang="0">
                <a:pos x="99" y="801"/>
              </a:cxn>
              <a:cxn ang="0">
                <a:pos x="32" y="783"/>
              </a:cxn>
            </a:cxnLst>
            <a:rect l="0" t="0" r="r" b="b"/>
            <a:pathLst>
              <a:path w="1178" h="818">
                <a:moveTo>
                  <a:pt x="0" y="774"/>
                </a:moveTo>
                <a:lnTo>
                  <a:pt x="7" y="733"/>
                </a:lnTo>
                <a:lnTo>
                  <a:pt x="15" y="693"/>
                </a:lnTo>
                <a:lnTo>
                  <a:pt x="27" y="655"/>
                </a:lnTo>
                <a:lnTo>
                  <a:pt x="38" y="614"/>
                </a:lnTo>
                <a:lnTo>
                  <a:pt x="53" y="578"/>
                </a:lnTo>
                <a:lnTo>
                  <a:pt x="69" y="540"/>
                </a:lnTo>
                <a:lnTo>
                  <a:pt x="86" y="505"/>
                </a:lnTo>
                <a:lnTo>
                  <a:pt x="105" y="468"/>
                </a:lnTo>
                <a:lnTo>
                  <a:pt x="124" y="434"/>
                </a:lnTo>
                <a:lnTo>
                  <a:pt x="147" y="401"/>
                </a:lnTo>
                <a:lnTo>
                  <a:pt x="170" y="369"/>
                </a:lnTo>
                <a:lnTo>
                  <a:pt x="194" y="338"/>
                </a:lnTo>
                <a:lnTo>
                  <a:pt x="220" y="307"/>
                </a:lnTo>
                <a:lnTo>
                  <a:pt x="247" y="278"/>
                </a:lnTo>
                <a:lnTo>
                  <a:pt x="276" y="250"/>
                </a:lnTo>
                <a:lnTo>
                  <a:pt x="305" y="223"/>
                </a:lnTo>
                <a:lnTo>
                  <a:pt x="336" y="198"/>
                </a:lnTo>
                <a:lnTo>
                  <a:pt x="366" y="175"/>
                </a:lnTo>
                <a:lnTo>
                  <a:pt x="399" y="152"/>
                </a:lnTo>
                <a:lnTo>
                  <a:pt x="433" y="131"/>
                </a:lnTo>
                <a:lnTo>
                  <a:pt x="468" y="110"/>
                </a:lnTo>
                <a:lnTo>
                  <a:pt x="504" y="92"/>
                </a:lnTo>
                <a:lnTo>
                  <a:pt x="541" y="75"/>
                </a:lnTo>
                <a:lnTo>
                  <a:pt x="577" y="60"/>
                </a:lnTo>
                <a:lnTo>
                  <a:pt x="616" y="46"/>
                </a:lnTo>
                <a:lnTo>
                  <a:pt x="654" y="35"/>
                </a:lnTo>
                <a:lnTo>
                  <a:pt x="694" y="25"/>
                </a:lnTo>
                <a:lnTo>
                  <a:pt x="735" y="16"/>
                </a:lnTo>
                <a:lnTo>
                  <a:pt x="775" y="10"/>
                </a:lnTo>
                <a:lnTo>
                  <a:pt x="817" y="4"/>
                </a:lnTo>
                <a:lnTo>
                  <a:pt x="860" y="2"/>
                </a:lnTo>
                <a:lnTo>
                  <a:pt x="902" y="0"/>
                </a:lnTo>
                <a:lnTo>
                  <a:pt x="938" y="2"/>
                </a:lnTo>
                <a:lnTo>
                  <a:pt x="973" y="4"/>
                </a:lnTo>
                <a:lnTo>
                  <a:pt x="1009" y="6"/>
                </a:lnTo>
                <a:lnTo>
                  <a:pt x="1044" y="12"/>
                </a:lnTo>
                <a:lnTo>
                  <a:pt x="1078" y="17"/>
                </a:lnTo>
                <a:lnTo>
                  <a:pt x="1113" y="25"/>
                </a:lnTo>
                <a:lnTo>
                  <a:pt x="1145" y="35"/>
                </a:lnTo>
                <a:lnTo>
                  <a:pt x="1178" y="44"/>
                </a:lnTo>
                <a:lnTo>
                  <a:pt x="1172" y="85"/>
                </a:lnTo>
                <a:lnTo>
                  <a:pt x="1163" y="125"/>
                </a:lnTo>
                <a:lnTo>
                  <a:pt x="1151" y="163"/>
                </a:lnTo>
                <a:lnTo>
                  <a:pt x="1140" y="202"/>
                </a:lnTo>
                <a:lnTo>
                  <a:pt x="1126" y="240"/>
                </a:lnTo>
                <a:lnTo>
                  <a:pt x="1109" y="277"/>
                </a:lnTo>
                <a:lnTo>
                  <a:pt x="1092" y="313"/>
                </a:lnTo>
                <a:lnTo>
                  <a:pt x="1074" y="350"/>
                </a:lnTo>
                <a:lnTo>
                  <a:pt x="1053" y="384"/>
                </a:lnTo>
                <a:lnTo>
                  <a:pt x="1032" y="417"/>
                </a:lnTo>
                <a:lnTo>
                  <a:pt x="1009" y="449"/>
                </a:lnTo>
                <a:lnTo>
                  <a:pt x="984" y="480"/>
                </a:lnTo>
                <a:lnTo>
                  <a:pt x="959" y="511"/>
                </a:lnTo>
                <a:lnTo>
                  <a:pt x="931" y="540"/>
                </a:lnTo>
                <a:lnTo>
                  <a:pt x="904" y="568"/>
                </a:lnTo>
                <a:lnTo>
                  <a:pt x="873" y="595"/>
                </a:lnTo>
                <a:lnTo>
                  <a:pt x="842" y="620"/>
                </a:lnTo>
                <a:lnTo>
                  <a:pt x="812" y="643"/>
                </a:lnTo>
                <a:lnTo>
                  <a:pt x="779" y="666"/>
                </a:lnTo>
                <a:lnTo>
                  <a:pt x="744" y="687"/>
                </a:lnTo>
                <a:lnTo>
                  <a:pt x="710" y="708"/>
                </a:lnTo>
                <a:lnTo>
                  <a:pt x="675" y="726"/>
                </a:lnTo>
                <a:lnTo>
                  <a:pt x="639" y="743"/>
                </a:lnTo>
                <a:lnTo>
                  <a:pt x="600" y="758"/>
                </a:lnTo>
                <a:lnTo>
                  <a:pt x="562" y="772"/>
                </a:lnTo>
                <a:lnTo>
                  <a:pt x="524" y="783"/>
                </a:lnTo>
                <a:lnTo>
                  <a:pt x="485" y="793"/>
                </a:lnTo>
                <a:lnTo>
                  <a:pt x="445" y="802"/>
                </a:lnTo>
                <a:lnTo>
                  <a:pt x="403" y="808"/>
                </a:lnTo>
                <a:lnTo>
                  <a:pt x="362" y="814"/>
                </a:lnTo>
                <a:lnTo>
                  <a:pt x="320" y="816"/>
                </a:lnTo>
                <a:lnTo>
                  <a:pt x="278" y="818"/>
                </a:lnTo>
                <a:lnTo>
                  <a:pt x="241" y="816"/>
                </a:lnTo>
                <a:lnTo>
                  <a:pt x="205" y="814"/>
                </a:lnTo>
                <a:lnTo>
                  <a:pt x="170" y="812"/>
                </a:lnTo>
                <a:lnTo>
                  <a:pt x="134" y="806"/>
                </a:lnTo>
                <a:lnTo>
                  <a:pt x="99" y="801"/>
                </a:lnTo>
                <a:lnTo>
                  <a:pt x="67" y="793"/>
                </a:lnTo>
                <a:lnTo>
                  <a:pt x="32" y="783"/>
                </a:lnTo>
                <a:lnTo>
                  <a:pt x="0" y="774"/>
                </a:lnTo>
                <a:close/>
              </a:path>
            </a:pathLst>
          </a:custGeom>
          <a:solidFill>
            <a:srgbClr val="FF952E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 anchorCtr="1"/>
          <a:lstStyle/>
          <a:p>
            <a:endParaRPr lang="en-US"/>
          </a:p>
        </p:txBody>
      </p:sp>
      <p:sp>
        <p:nvSpPr>
          <p:cNvPr id="26633" name="Freeform 9"/>
          <p:cNvSpPr>
            <a:spLocks/>
          </p:cNvSpPr>
          <p:nvPr/>
        </p:nvSpPr>
        <p:spPr bwMode="auto">
          <a:xfrm>
            <a:off x="4448309" y="3334940"/>
            <a:ext cx="994040" cy="2246611"/>
          </a:xfrm>
          <a:custGeom>
            <a:avLst/>
            <a:gdLst/>
            <a:ahLst/>
            <a:cxnLst>
              <a:cxn ang="0">
                <a:pos x="576" y="714"/>
              </a:cxn>
              <a:cxn ang="0">
                <a:pos x="566" y="810"/>
              </a:cxn>
              <a:cxn ang="0">
                <a:pos x="547" y="902"/>
              </a:cxn>
              <a:cxn ang="0">
                <a:pos x="518" y="990"/>
              </a:cxn>
              <a:cxn ang="0">
                <a:pos x="480" y="1075"/>
              </a:cxn>
              <a:cxn ang="0">
                <a:pos x="434" y="1155"/>
              </a:cxn>
              <a:cxn ang="0">
                <a:pos x="382" y="1228"/>
              </a:cxn>
              <a:cxn ang="0">
                <a:pos x="321" y="1297"/>
              </a:cxn>
              <a:cxn ang="0">
                <a:pos x="257" y="1297"/>
              </a:cxn>
              <a:cxn ang="0">
                <a:pos x="196" y="1228"/>
              </a:cxn>
              <a:cxn ang="0">
                <a:pos x="144" y="1155"/>
              </a:cxn>
              <a:cxn ang="0">
                <a:pos x="98" y="1075"/>
              </a:cxn>
              <a:cxn ang="0">
                <a:pos x="60" y="990"/>
              </a:cxn>
              <a:cxn ang="0">
                <a:pos x="31" y="902"/>
              </a:cxn>
              <a:cxn ang="0">
                <a:pos x="12" y="810"/>
              </a:cxn>
              <a:cxn ang="0">
                <a:pos x="2" y="714"/>
              </a:cxn>
              <a:cxn ang="0">
                <a:pos x="2" y="616"/>
              </a:cxn>
              <a:cxn ang="0">
                <a:pos x="12" y="522"/>
              </a:cxn>
              <a:cxn ang="0">
                <a:pos x="31" y="430"/>
              </a:cxn>
              <a:cxn ang="0">
                <a:pos x="60" y="339"/>
              </a:cxn>
              <a:cxn ang="0">
                <a:pos x="98" y="255"/>
              </a:cxn>
              <a:cxn ang="0">
                <a:pos x="144" y="176"/>
              </a:cxn>
              <a:cxn ang="0">
                <a:pos x="196" y="102"/>
              </a:cxn>
              <a:cxn ang="0">
                <a:pos x="257" y="32"/>
              </a:cxn>
              <a:cxn ang="0">
                <a:pos x="321" y="32"/>
              </a:cxn>
              <a:cxn ang="0">
                <a:pos x="382" y="102"/>
              </a:cxn>
              <a:cxn ang="0">
                <a:pos x="434" y="176"/>
              </a:cxn>
              <a:cxn ang="0">
                <a:pos x="480" y="255"/>
              </a:cxn>
              <a:cxn ang="0">
                <a:pos x="518" y="339"/>
              </a:cxn>
              <a:cxn ang="0">
                <a:pos x="547" y="430"/>
              </a:cxn>
              <a:cxn ang="0">
                <a:pos x="566" y="522"/>
              </a:cxn>
              <a:cxn ang="0">
                <a:pos x="576" y="616"/>
              </a:cxn>
            </a:cxnLst>
            <a:rect l="0" t="0" r="r" b="b"/>
            <a:pathLst>
              <a:path w="578" h="1330">
                <a:moveTo>
                  <a:pt x="578" y="666"/>
                </a:moveTo>
                <a:lnTo>
                  <a:pt x="576" y="714"/>
                </a:lnTo>
                <a:lnTo>
                  <a:pt x="572" y="762"/>
                </a:lnTo>
                <a:lnTo>
                  <a:pt x="566" y="810"/>
                </a:lnTo>
                <a:lnTo>
                  <a:pt x="557" y="856"/>
                </a:lnTo>
                <a:lnTo>
                  <a:pt x="547" y="902"/>
                </a:lnTo>
                <a:lnTo>
                  <a:pt x="534" y="946"/>
                </a:lnTo>
                <a:lnTo>
                  <a:pt x="518" y="990"/>
                </a:lnTo>
                <a:lnTo>
                  <a:pt x="499" y="1032"/>
                </a:lnTo>
                <a:lnTo>
                  <a:pt x="480" y="1075"/>
                </a:lnTo>
                <a:lnTo>
                  <a:pt x="459" y="1115"/>
                </a:lnTo>
                <a:lnTo>
                  <a:pt x="434" y="1155"/>
                </a:lnTo>
                <a:lnTo>
                  <a:pt x="409" y="1192"/>
                </a:lnTo>
                <a:lnTo>
                  <a:pt x="382" y="1228"/>
                </a:lnTo>
                <a:lnTo>
                  <a:pt x="353" y="1265"/>
                </a:lnTo>
                <a:lnTo>
                  <a:pt x="321" y="1297"/>
                </a:lnTo>
                <a:lnTo>
                  <a:pt x="290" y="1330"/>
                </a:lnTo>
                <a:lnTo>
                  <a:pt x="257" y="1297"/>
                </a:lnTo>
                <a:lnTo>
                  <a:pt x="227" y="1265"/>
                </a:lnTo>
                <a:lnTo>
                  <a:pt x="196" y="1228"/>
                </a:lnTo>
                <a:lnTo>
                  <a:pt x="169" y="1192"/>
                </a:lnTo>
                <a:lnTo>
                  <a:pt x="144" y="1155"/>
                </a:lnTo>
                <a:lnTo>
                  <a:pt x="119" y="1115"/>
                </a:lnTo>
                <a:lnTo>
                  <a:pt x="98" y="1075"/>
                </a:lnTo>
                <a:lnTo>
                  <a:pt x="79" y="1032"/>
                </a:lnTo>
                <a:lnTo>
                  <a:pt x="60" y="990"/>
                </a:lnTo>
                <a:lnTo>
                  <a:pt x="44" y="946"/>
                </a:lnTo>
                <a:lnTo>
                  <a:pt x="31" y="902"/>
                </a:lnTo>
                <a:lnTo>
                  <a:pt x="21" y="856"/>
                </a:lnTo>
                <a:lnTo>
                  <a:pt x="12" y="810"/>
                </a:lnTo>
                <a:lnTo>
                  <a:pt x="6" y="762"/>
                </a:lnTo>
                <a:lnTo>
                  <a:pt x="2" y="714"/>
                </a:lnTo>
                <a:lnTo>
                  <a:pt x="0" y="666"/>
                </a:lnTo>
                <a:lnTo>
                  <a:pt x="2" y="616"/>
                </a:lnTo>
                <a:lnTo>
                  <a:pt x="6" y="568"/>
                </a:lnTo>
                <a:lnTo>
                  <a:pt x="12" y="522"/>
                </a:lnTo>
                <a:lnTo>
                  <a:pt x="21" y="474"/>
                </a:lnTo>
                <a:lnTo>
                  <a:pt x="31" y="430"/>
                </a:lnTo>
                <a:lnTo>
                  <a:pt x="44" y="384"/>
                </a:lnTo>
                <a:lnTo>
                  <a:pt x="60" y="339"/>
                </a:lnTo>
                <a:lnTo>
                  <a:pt x="79" y="297"/>
                </a:lnTo>
                <a:lnTo>
                  <a:pt x="98" y="255"/>
                </a:lnTo>
                <a:lnTo>
                  <a:pt x="119" y="215"/>
                </a:lnTo>
                <a:lnTo>
                  <a:pt x="144" y="176"/>
                </a:lnTo>
                <a:lnTo>
                  <a:pt x="169" y="138"/>
                </a:lnTo>
                <a:lnTo>
                  <a:pt x="196" y="102"/>
                </a:lnTo>
                <a:lnTo>
                  <a:pt x="227" y="67"/>
                </a:lnTo>
                <a:lnTo>
                  <a:pt x="257" y="32"/>
                </a:lnTo>
                <a:lnTo>
                  <a:pt x="290" y="0"/>
                </a:lnTo>
                <a:lnTo>
                  <a:pt x="321" y="32"/>
                </a:lnTo>
                <a:lnTo>
                  <a:pt x="353" y="67"/>
                </a:lnTo>
                <a:lnTo>
                  <a:pt x="382" y="102"/>
                </a:lnTo>
                <a:lnTo>
                  <a:pt x="409" y="138"/>
                </a:lnTo>
                <a:lnTo>
                  <a:pt x="434" y="176"/>
                </a:lnTo>
                <a:lnTo>
                  <a:pt x="459" y="215"/>
                </a:lnTo>
                <a:lnTo>
                  <a:pt x="480" y="255"/>
                </a:lnTo>
                <a:lnTo>
                  <a:pt x="499" y="297"/>
                </a:lnTo>
                <a:lnTo>
                  <a:pt x="518" y="339"/>
                </a:lnTo>
                <a:lnTo>
                  <a:pt x="534" y="384"/>
                </a:lnTo>
                <a:lnTo>
                  <a:pt x="547" y="430"/>
                </a:lnTo>
                <a:lnTo>
                  <a:pt x="557" y="474"/>
                </a:lnTo>
                <a:lnTo>
                  <a:pt x="566" y="522"/>
                </a:lnTo>
                <a:lnTo>
                  <a:pt x="572" y="568"/>
                </a:lnTo>
                <a:lnTo>
                  <a:pt x="576" y="616"/>
                </a:lnTo>
                <a:lnTo>
                  <a:pt x="578" y="666"/>
                </a:lnTo>
                <a:close/>
              </a:path>
            </a:pathLst>
          </a:custGeom>
          <a:solidFill>
            <a:srgbClr val="FF952E"/>
          </a:solidFill>
          <a:ln w="6350" cmpd="sng">
            <a:noFill/>
            <a:round/>
            <a:headEnd/>
            <a:tailEnd/>
          </a:ln>
        </p:spPr>
        <p:txBody>
          <a:bodyPr lIns="45720" rIns="45720" anchor="ctr" anchorCtr="1"/>
          <a:lstStyle/>
          <a:p>
            <a:endParaRPr lang="en-US"/>
          </a:p>
        </p:txBody>
      </p:sp>
      <p:sp>
        <p:nvSpPr>
          <p:cNvPr id="26634" name="Freeform 10"/>
          <p:cNvSpPr>
            <a:spLocks/>
          </p:cNvSpPr>
          <p:nvPr/>
        </p:nvSpPr>
        <p:spPr bwMode="auto">
          <a:xfrm>
            <a:off x="4474105" y="3388567"/>
            <a:ext cx="942446" cy="964261"/>
          </a:xfrm>
          <a:custGeom>
            <a:avLst/>
            <a:gdLst/>
            <a:ahLst/>
            <a:cxnLst>
              <a:cxn ang="0">
                <a:pos x="48" y="339"/>
              </a:cxn>
              <a:cxn ang="0">
                <a:pos x="155" y="142"/>
              </a:cxn>
              <a:cxn ang="0">
                <a:pos x="293" y="15"/>
              </a:cxn>
              <a:cxn ang="0">
                <a:pos x="378" y="111"/>
              </a:cxn>
              <a:cxn ang="0">
                <a:pos x="391" y="128"/>
              </a:cxn>
              <a:cxn ang="0">
                <a:pos x="395" y="136"/>
              </a:cxn>
              <a:cxn ang="0">
                <a:pos x="403" y="148"/>
              </a:cxn>
              <a:cxn ang="0">
                <a:pos x="403" y="148"/>
              </a:cxn>
              <a:cxn ang="0">
                <a:pos x="416" y="165"/>
              </a:cxn>
              <a:cxn ang="0">
                <a:pos x="422" y="176"/>
              </a:cxn>
              <a:cxn ang="0">
                <a:pos x="426" y="180"/>
              </a:cxn>
              <a:cxn ang="0">
                <a:pos x="432" y="192"/>
              </a:cxn>
              <a:cxn ang="0">
                <a:pos x="435" y="196"/>
              </a:cxn>
              <a:cxn ang="0">
                <a:pos x="439" y="203"/>
              </a:cxn>
              <a:cxn ang="0">
                <a:pos x="445" y="213"/>
              </a:cxn>
              <a:cxn ang="0">
                <a:pos x="447" y="215"/>
              </a:cxn>
              <a:cxn ang="0">
                <a:pos x="451" y="222"/>
              </a:cxn>
              <a:cxn ang="0">
                <a:pos x="453" y="226"/>
              </a:cxn>
              <a:cxn ang="0">
                <a:pos x="456" y="232"/>
              </a:cxn>
              <a:cxn ang="0">
                <a:pos x="460" y="242"/>
              </a:cxn>
              <a:cxn ang="0">
                <a:pos x="464" y="247"/>
              </a:cxn>
              <a:cxn ang="0">
                <a:pos x="468" y="255"/>
              </a:cxn>
              <a:cxn ang="0">
                <a:pos x="472" y="263"/>
              </a:cxn>
              <a:cxn ang="0">
                <a:pos x="474" y="268"/>
              </a:cxn>
              <a:cxn ang="0">
                <a:pos x="478" y="274"/>
              </a:cxn>
              <a:cxn ang="0">
                <a:pos x="481" y="282"/>
              </a:cxn>
              <a:cxn ang="0">
                <a:pos x="483" y="290"/>
              </a:cxn>
              <a:cxn ang="0">
                <a:pos x="487" y="295"/>
              </a:cxn>
              <a:cxn ang="0">
                <a:pos x="491" y="303"/>
              </a:cxn>
              <a:cxn ang="0">
                <a:pos x="493" y="311"/>
              </a:cxn>
              <a:cxn ang="0">
                <a:pos x="497" y="316"/>
              </a:cxn>
              <a:cxn ang="0">
                <a:pos x="499" y="324"/>
              </a:cxn>
              <a:cxn ang="0">
                <a:pos x="503" y="330"/>
              </a:cxn>
              <a:cxn ang="0">
                <a:pos x="504" y="338"/>
              </a:cxn>
              <a:cxn ang="0">
                <a:pos x="508" y="345"/>
              </a:cxn>
              <a:cxn ang="0">
                <a:pos x="508" y="349"/>
              </a:cxn>
              <a:cxn ang="0">
                <a:pos x="512" y="359"/>
              </a:cxn>
              <a:cxn ang="0">
                <a:pos x="516" y="366"/>
              </a:cxn>
              <a:cxn ang="0">
                <a:pos x="518" y="372"/>
              </a:cxn>
              <a:cxn ang="0">
                <a:pos x="520" y="384"/>
              </a:cxn>
              <a:cxn ang="0">
                <a:pos x="522" y="387"/>
              </a:cxn>
              <a:cxn ang="0">
                <a:pos x="524" y="395"/>
              </a:cxn>
              <a:cxn ang="0">
                <a:pos x="527" y="405"/>
              </a:cxn>
              <a:cxn ang="0">
                <a:pos x="527" y="407"/>
              </a:cxn>
              <a:cxn ang="0">
                <a:pos x="531" y="416"/>
              </a:cxn>
              <a:cxn ang="0">
                <a:pos x="533" y="424"/>
              </a:cxn>
              <a:cxn ang="0">
                <a:pos x="535" y="430"/>
              </a:cxn>
              <a:cxn ang="0">
                <a:pos x="537" y="441"/>
              </a:cxn>
              <a:cxn ang="0">
                <a:pos x="539" y="445"/>
              </a:cxn>
              <a:cxn ang="0">
                <a:pos x="541" y="455"/>
              </a:cxn>
              <a:cxn ang="0">
                <a:pos x="543" y="464"/>
              </a:cxn>
              <a:cxn ang="0">
                <a:pos x="543" y="468"/>
              </a:cxn>
              <a:cxn ang="0">
                <a:pos x="547" y="478"/>
              </a:cxn>
              <a:cxn ang="0">
                <a:pos x="547" y="485"/>
              </a:cxn>
              <a:cxn ang="0">
                <a:pos x="549" y="487"/>
              </a:cxn>
              <a:cxn ang="0">
                <a:pos x="551" y="501"/>
              </a:cxn>
              <a:cxn ang="0">
                <a:pos x="551" y="506"/>
              </a:cxn>
              <a:cxn ang="0">
                <a:pos x="552" y="514"/>
              </a:cxn>
              <a:cxn ang="0">
                <a:pos x="554" y="526"/>
              </a:cxn>
              <a:cxn ang="0">
                <a:pos x="554" y="526"/>
              </a:cxn>
              <a:cxn ang="0">
                <a:pos x="385" y="564"/>
              </a:cxn>
              <a:cxn ang="0">
                <a:pos x="170" y="564"/>
              </a:cxn>
            </a:cxnLst>
            <a:rect l="0" t="0" r="r" b="b"/>
            <a:pathLst>
              <a:path w="554" h="570">
                <a:moveTo>
                  <a:pt x="0" y="526"/>
                </a:moveTo>
                <a:lnTo>
                  <a:pt x="5" y="487"/>
                </a:lnTo>
                <a:lnTo>
                  <a:pt x="15" y="451"/>
                </a:lnTo>
                <a:lnTo>
                  <a:pt x="25" y="412"/>
                </a:lnTo>
                <a:lnTo>
                  <a:pt x="36" y="376"/>
                </a:lnTo>
                <a:lnTo>
                  <a:pt x="48" y="339"/>
                </a:lnTo>
                <a:lnTo>
                  <a:pt x="63" y="305"/>
                </a:lnTo>
                <a:lnTo>
                  <a:pt x="78" y="270"/>
                </a:lnTo>
                <a:lnTo>
                  <a:pt x="96" y="238"/>
                </a:lnTo>
                <a:lnTo>
                  <a:pt x="115" y="205"/>
                </a:lnTo>
                <a:lnTo>
                  <a:pt x="134" y="173"/>
                </a:lnTo>
                <a:lnTo>
                  <a:pt x="155" y="142"/>
                </a:lnTo>
                <a:lnTo>
                  <a:pt x="176" y="111"/>
                </a:lnTo>
                <a:lnTo>
                  <a:pt x="199" y="82"/>
                </a:lnTo>
                <a:lnTo>
                  <a:pt x="224" y="54"/>
                </a:lnTo>
                <a:lnTo>
                  <a:pt x="251" y="27"/>
                </a:lnTo>
                <a:lnTo>
                  <a:pt x="278" y="0"/>
                </a:lnTo>
                <a:lnTo>
                  <a:pt x="293" y="15"/>
                </a:lnTo>
                <a:lnTo>
                  <a:pt x="307" y="30"/>
                </a:lnTo>
                <a:lnTo>
                  <a:pt x="322" y="46"/>
                </a:lnTo>
                <a:lnTo>
                  <a:pt x="336" y="61"/>
                </a:lnTo>
                <a:lnTo>
                  <a:pt x="351" y="78"/>
                </a:lnTo>
                <a:lnTo>
                  <a:pt x="364" y="94"/>
                </a:lnTo>
                <a:lnTo>
                  <a:pt x="378" y="111"/>
                </a:lnTo>
                <a:lnTo>
                  <a:pt x="389" y="128"/>
                </a:lnTo>
                <a:lnTo>
                  <a:pt x="389" y="128"/>
                </a:lnTo>
                <a:lnTo>
                  <a:pt x="389" y="128"/>
                </a:lnTo>
                <a:lnTo>
                  <a:pt x="389" y="128"/>
                </a:lnTo>
                <a:lnTo>
                  <a:pt x="391" y="128"/>
                </a:lnTo>
                <a:lnTo>
                  <a:pt x="391" y="128"/>
                </a:lnTo>
                <a:lnTo>
                  <a:pt x="391" y="128"/>
                </a:lnTo>
                <a:lnTo>
                  <a:pt x="391" y="128"/>
                </a:lnTo>
                <a:lnTo>
                  <a:pt x="391" y="128"/>
                </a:lnTo>
                <a:lnTo>
                  <a:pt x="393" y="132"/>
                </a:lnTo>
                <a:lnTo>
                  <a:pt x="393" y="134"/>
                </a:lnTo>
                <a:lnTo>
                  <a:pt x="395" y="136"/>
                </a:lnTo>
                <a:lnTo>
                  <a:pt x="397" y="138"/>
                </a:lnTo>
                <a:lnTo>
                  <a:pt x="399" y="140"/>
                </a:lnTo>
                <a:lnTo>
                  <a:pt x="401" y="142"/>
                </a:lnTo>
                <a:lnTo>
                  <a:pt x="401" y="144"/>
                </a:lnTo>
                <a:lnTo>
                  <a:pt x="403" y="146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3" y="148"/>
                </a:lnTo>
                <a:lnTo>
                  <a:pt x="407" y="151"/>
                </a:lnTo>
                <a:lnTo>
                  <a:pt x="408" y="155"/>
                </a:lnTo>
                <a:lnTo>
                  <a:pt x="410" y="157"/>
                </a:lnTo>
                <a:lnTo>
                  <a:pt x="412" y="161"/>
                </a:lnTo>
                <a:lnTo>
                  <a:pt x="416" y="165"/>
                </a:lnTo>
                <a:lnTo>
                  <a:pt x="418" y="169"/>
                </a:lnTo>
                <a:lnTo>
                  <a:pt x="420" y="173"/>
                </a:lnTo>
                <a:lnTo>
                  <a:pt x="422" y="174"/>
                </a:lnTo>
                <a:lnTo>
                  <a:pt x="422" y="176"/>
                </a:lnTo>
                <a:lnTo>
                  <a:pt x="422" y="176"/>
                </a:lnTo>
                <a:lnTo>
                  <a:pt x="422" y="176"/>
                </a:lnTo>
                <a:lnTo>
                  <a:pt x="424" y="176"/>
                </a:lnTo>
                <a:lnTo>
                  <a:pt x="424" y="176"/>
                </a:lnTo>
                <a:lnTo>
                  <a:pt x="424" y="176"/>
                </a:lnTo>
                <a:lnTo>
                  <a:pt x="424" y="178"/>
                </a:lnTo>
                <a:lnTo>
                  <a:pt x="424" y="178"/>
                </a:lnTo>
                <a:lnTo>
                  <a:pt x="426" y="180"/>
                </a:lnTo>
                <a:lnTo>
                  <a:pt x="426" y="182"/>
                </a:lnTo>
                <a:lnTo>
                  <a:pt x="428" y="184"/>
                </a:lnTo>
                <a:lnTo>
                  <a:pt x="428" y="186"/>
                </a:lnTo>
                <a:lnTo>
                  <a:pt x="430" y="188"/>
                </a:lnTo>
                <a:lnTo>
                  <a:pt x="432" y="190"/>
                </a:lnTo>
                <a:lnTo>
                  <a:pt x="432" y="192"/>
                </a:lnTo>
                <a:lnTo>
                  <a:pt x="433" y="194"/>
                </a:lnTo>
                <a:lnTo>
                  <a:pt x="433" y="194"/>
                </a:lnTo>
                <a:lnTo>
                  <a:pt x="433" y="194"/>
                </a:lnTo>
                <a:lnTo>
                  <a:pt x="433" y="196"/>
                </a:lnTo>
                <a:lnTo>
                  <a:pt x="435" y="196"/>
                </a:lnTo>
                <a:lnTo>
                  <a:pt x="435" y="196"/>
                </a:lnTo>
                <a:lnTo>
                  <a:pt x="435" y="196"/>
                </a:lnTo>
                <a:lnTo>
                  <a:pt x="435" y="197"/>
                </a:lnTo>
                <a:lnTo>
                  <a:pt x="435" y="197"/>
                </a:lnTo>
                <a:lnTo>
                  <a:pt x="437" y="199"/>
                </a:lnTo>
                <a:lnTo>
                  <a:pt x="437" y="201"/>
                </a:lnTo>
                <a:lnTo>
                  <a:pt x="439" y="203"/>
                </a:lnTo>
                <a:lnTo>
                  <a:pt x="439" y="205"/>
                </a:lnTo>
                <a:lnTo>
                  <a:pt x="441" y="205"/>
                </a:lnTo>
                <a:lnTo>
                  <a:pt x="443" y="207"/>
                </a:lnTo>
                <a:lnTo>
                  <a:pt x="443" y="209"/>
                </a:lnTo>
                <a:lnTo>
                  <a:pt x="445" y="211"/>
                </a:lnTo>
                <a:lnTo>
                  <a:pt x="445" y="213"/>
                </a:lnTo>
                <a:lnTo>
                  <a:pt x="445" y="213"/>
                </a:lnTo>
                <a:lnTo>
                  <a:pt x="445" y="213"/>
                </a:lnTo>
                <a:lnTo>
                  <a:pt x="445" y="213"/>
                </a:lnTo>
                <a:lnTo>
                  <a:pt x="445" y="215"/>
                </a:lnTo>
                <a:lnTo>
                  <a:pt x="447" y="215"/>
                </a:lnTo>
                <a:lnTo>
                  <a:pt x="447" y="215"/>
                </a:lnTo>
                <a:lnTo>
                  <a:pt x="447" y="217"/>
                </a:lnTo>
                <a:lnTo>
                  <a:pt x="447" y="217"/>
                </a:lnTo>
                <a:lnTo>
                  <a:pt x="449" y="219"/>
                </a:lnTo>
                <a:lnTo>
                  <a:pt x="449" y="219"/>
                </a:lnTo>
                <a:lnTo>
                  <a:pt x="449" y="220"/>
                </a:lnTo>
                <a:lnTo>
                  <a:pt x="451" y="222"/>
                </a:lnTo>
                <a:lnTo>
                  <a:pt x="451" y="222"/>
                </a:lnTo>
                <a:lnTo>
                  <a:pt x="451" y="224"/>
                </a:lnTo>
                <a:lnTo>
                  <a:pt x="453" y="224"/>
                </a:lnTo>
                <a:lnTo>
                  <a:pt x="453" y="226"/>
                </a:lnTo>
                <a:lnTo>
                  <a:pt x="453" y="226"/>
                </a:lnTo>
                <a:lnTo>
                  <a:pt x="453" y="226"/>
                </a:lnTo>
                <a:lnTo>
                  <a:pt x="453" y="228"/>
                </a:lnTo>
                <a:lnTo>
                  <a:pt x="455" y="228"/>
                </a:lnTo>
                <a:lnTo>
                  <a:pt x="455" y="230"/>
                </a:lnTo>
                <a:lnTo>
                  <a:pt x="455" y="230"/>
                </a:lnTo>
                <a:lnTo>
                  <a:pt x="455" y="232"/>
                </a:lnTo>
                <a:lnTo>
                  <a:pt x="456" y="232"/>
                </a:lnTo>
                <a:lnTo>
                  <a:pt x="456" y="234"/>
                </a:lnTo>
                <a:lnTo>
                  <a:pt x="458" y="236"/>
                </a:lnTo>
                <a:lnTo>
                  <a:pt x="458" y="238"/>
                </a:lnTo>
                <a:lnTo>
                  <a:pt x="458" y="240"/>
                </a:lnTo>
                <a:lnTo>
                  <a:pt x="460" y="240"/>
                </a:lnTo>
                <a:lnTo>
                  <a:pt x="460" y="242"/>
                </a:lnTo>
                <a:lnTo>
                  <a:pt x="462" y="244"/>
                </a:lnTo>
                <a:lnTo>
                  <a:pt x="462" y="244"/>
                </a:lnTo>
                <a:lnTo>
                  <a:pt x="462" y="245"/>
                </a:lnTo>
                <a:lnTo>
                  <a:pt x="462" y="245"/>
                </a:lnTo>
                <a:lnTo>
                  <a:pt x="464" y="247"/>
                </a:lnTo>
                <a:lnTo>
                  <a:pt x="464" y="247"/>
                </a:lnTo>
                <a:lnTo>
                  <a:pt x="464" y="247"/>
                </a:lnTo>
                <a:lnTo>
                  <a:pt x="464" y="249"/>
                </a:lnTo>
                <a:lnTo>
                  <a:pt x="466" y="249"/>
                </a:lnTo>
                <a:lnTo>
                  <a:pt x="466" y="251"/>
                </a:lnTo>
                <a:lnTo>
                  <a:pt x="466" y="253"/>
                </a:lnTo>
                <a:lnTo>
                  <a:pt x="468" y="255"/>
                </a:lnTo>
                <a:lnTo>
                  <a:pt x="468" y="255"/>
                </a:lnTo>
                <a:lnTo>
                  <a:pt x="468" y="257"/>
                </a:lnTo>
                <a:lnTo>
                  <a:pt x="470" y="259"/>
                </a:lnTo>
                <a:lnTo>
                  <a:pt x="470" y="261"/>
                </a:lnTo>
                <a:lnTo>
                  <a:pt x="472" y="261"/>
                </a:lnTo>
                <a:lnTo>
                  <a:pt x="472" y="263"/>
                </a:lnTo>
                <a:lnTo>
                  <a:pt x="472" y="263"/>
                </a:lnTo>
                <a:lnTo>
                  <a:pt x="472" y="265"/>
                </a:lnTo>
                <a:lnTo>
                  <a:pt x="474" y="265"/>
                </a:lnTo>
                <a:lnTo>
                  <a:pt x="474" y="267"/>
                </a:lnTo>
                <a:lnTo>
                  <a:pt x="474" y="267"/>
                </a:lnTo>
                <a:lnTo>
                  <a:pt x="474" y="268"/>
                </a:lnTo>
                <a:lnTo>
                  <a:pt x="476" y="268"/>
                </a:lnTo>
                <a:lnTo>
                  <a:pt x="476" y="270"/>
                </a:lnTo>
                <a:lnTo>
                  <a:pt x="476" y="272"/>
                </a:lnTo>
                <a:lnTo>
                  <a:pt x="476" y="272"/>
                </a:lnTo>
                <a:lnTo>
                  <a:pt x="478" y="274"/>
                </a:lnTo>
                <a:lnTo>
                  <a:pt x="478" y="274"/>
                </a:lnTo>
                <a:lnTo>
                  <a:pt x="478" y="276"/>
                </a:lnTo>
                <a:lnTo>
                  <a:pt x="478" y="276"/>
                </a:lnTo>
                <a:lnTo>
                  <a:pt x="479" y="278"/>
                </a:lnTo>
                <a:lnTo>
                  <a:pt x="479" y="280"/>
                </a:lnTo>
                <a:lnTo>
                  <a:pt x="479" y="280"/>
                </a:lnTo>
                <a:lnTo>
                  <a:pt x="481" y="282"/>
                </a:lnTo>
                <a:lnTo>
                  <a:pt x="481" y="284"/>
                </a:lnTo>
                <a:lnTo>
                  <a:pt x="481" y="284"/>
                </a:lnTo>
                <a:lnTo>
                  <a:pt x="483" y="286"/>
                </a:lnTo>
                <a:lnTo>
                  <a:pt x="483" y="288"/>
                </a:lnTo>
                <a:lnTo>
                  <a:pt x="483" y="288"/>
                </a:lnTo>
                <a:lnTo>
                  <a:pt x="483" y="290"/>
                </a:lnTo>
                <a:lnTo>
                  <a:pt x="485" y="290"/>
                </a:lnTo>
                <a:lnTo>
                  <a:pt x="485" y="292"/>
                </a:lnTo>
                <a:lnTo>
                  <a:pt x="485" y="292"/>
                </a:lnTo>
                <a:lnTo>
                  <a:pt x="485" y="293"/>
                </a:lnTo>
                <a:lnTo>
                  <a:pt x="487" y="293"/>
                </a:lnTo>
                <a:lnTo>
                  <a:pt x="487" y="295"/>
                </a:lnTo>
                <a:lnTo>
                  <a:pt x="487" y="295"/>
                </a:lnTo>
                <a:lnTo>
                  <a:pt x="487" y="297"/>
                </a:lnTo>
                <a:lnTo>
                  <a:pt x="489" y="299"/>
                </a:lnTo>
                <a:lnTo>
                  <a:pt x="489" y="301"/>
                </a:lnTo>
                <a:lnTo>
                  <a:pt x="489" y="303"/>
                </a:lnTo>
                <a:lnTo>
                  <a:pt x="491" y="303"/>
                </a:lnTo>
                <a:lnTo>
                  <a:pt x="491" y="305"/>
                </a:lnTo>
                <a:lnTo>
                  <a:pt x="491" y="307"/>
                </a:lnTo>
                <a:lnTo>
                  <a:pt x="493" y="309"/>
                </a:lnTo>
                <a:lnTo>
                  <a:pt x="493" y="309"/>
                </a:lnTo>
                <a:lnTo>
                  <a:pt x="493" y="311"/>
                </a:lnTo>
                <a:lnTo>
                  <a:pt x="493" y="311"/>
                </a:lnTo>
                <a:lnTo>
                  <a:pt x="495" y="311"/>
                </a:lnTo>
                <a:lnTo>
                  <a:pt x="495" y="313"/>
                </a:lnTo>
                <a:lnTo>
                  <a:pt x="495" y="313"/>
                </a:lnTo>
                <a:lnTo>
                  <a:pt x="495" y="315"/>
                </a:lnTo>
                <a:lnTo>
                  <a:pt x="495" y="315"/>
                </a:lnTo>
                <a:lnTo>
                  <a:pt x="497" y="316"/>
                </a:lnTo>
                <a:lnTo>
                  <a:pt x="497" y="318"/>
                </a:lnTo>
                <a:lnTo>
                  <a:pt x="497" y="318"/>
                </a:lnTo>
                <a:lnTo>
                  <a:pt x="497" y="320"/>
                </a:lnTo>
                <a:lnTo>
                  <a:pt x="499" y="322"/>
                </a:lnTo>
                <a:lnTo>
                  <a:pt x="499" y="324"/>
                </a:lnTo>
                <a:lnTo>
                  <a:pt x="499" y="324"/>
                </a:lnTo>
                <a:lnTo>
                  <a:pt x="501" y="326"/>
                </a:lnTo>
                <a:lnTo>
                  <a:pt x="501" y="326"/>
                </a:lnTo>
                <a:lnTo>
                  <a:pt x="501" y="328"/>
                </a:lnTo>
                <a:lnTo>
                  <a:pt x="501" y="328"/>
                </a:lnTo>
                <a:lnTo>
                  <a:pt x="501" y="330"/>
                </a:lnTo>
                <a:lnTo>
                  <a:pt x="503" y="330"/>
                </a:lnTo>
                <a:lnTo>
                  <a:pt x="503" y="332"/>
                </a:lnTo>
                <a:lnTo>
                  <a:pt x="503" y="332"/>
                </a:lnTo>
                <a:lnTo>
                  <a:pt x="503" y="334"/>
                </a:lnTo>
                <a:lnTo>
                  <a:pt x="503" y="334"/>
                </a:lnTo>
                <a:lnTo>
                  <a:pt x="504" y="336"/>
                </a:lnTo>
                <a:lnTo>
                  <a:pt x="504" y="338"/>
                </a:lnTo>
                <a:lnTo>
                  <a:pt x="504" y="339"/>
                </a:lnTo>
                <a:lnTo>
                  <a:pt x="506" y="339"/>
                </a:lnTo>
                <a:lnTo>
                  <a:pt x="506" y="341"/>
                </a:lnTo>
                <a:lnTo>
                  <a:pt x="506" y="343"/>
                </a:lnTo>
                <a:lnTo>
                  <a:pt x="506" y="345"/>
                </a:lnTo>
                <a:lnTo>
                  <a:pt x="508" y="345"/>
                </a:lnTo>
                <a:lnTo>
                  <a:pt x="508" y="345"/>
                </a:lnTo>
                <a:lnTo>
                  <a:pt x="508" y="347"/>
                </a:lnTo>
                <a:lnTo>
                  <a:pt x="508" y="347"/>
                </a:lnTo>
                <a:lnTo>
                  <a:pt x="508" y="349"/>
                </a:lnTo>
                <a:lnTo>
                  <a:pt x="508" y="349"/>
                </a:lnTo>
                <a:lnTo>
                  <a:pt x="508" y="349"/>
                </a:lnTo>
                <a:lnTo>
                  <a:pt x="510" y="351"/>
                </a:lnTo>
                <a:lnTo>
                  <a:pt x="510" y="353"/>
                </a:lnTo>
                <a:lnTo>
                  <a:pt x="510" y="353"/>
                </a:lnTo>
                <a:lnTo>
                  <a:pt x="512" y="355"/>
                </a:lnTo>
                <a:lnTo>
                  <a:pt x="512" y="357"/>
                </a:lnTo>
                <a:lnTo>
                  <a:pt x="512" y="359"/>
                </a:lnTo>
                <a:lnTo>
                  <a:pt x="514" y="361"/>
                </a:lnTo>
                <a:lnTo>
                  <a:pt x="514" y="363"/>
                </a:lnTo>
                <a:lnTo>
                  <a:pt x="514" y="364"/>
                </a:lnTo>
                <a:lnTo>
                  <a:pt x="514" y="364"/>
                </a:lnTo>
                <a:lnTo>
                  <a:pt x="514" y="366"/>
                </a:lnTo>
                <a:lnTo>
                  <a:pt x="516" y="366"/>
                </a:lnTo>
                <a:lnTo>
                  <a:pt x="516" y="366"/>
                </a:lnTo>
                <a:lnTo>
                  <a:pt x="516" y="368"/>
                </a:lnTo>
                <a:lnTo>
                  <a:pt x="516" y="368"/>
                </a:lnTo>
                <a:lnTo>
                  <a:pt x="516" y="370"/>
                </a:lnTo>
                <a:lnTo>
                  <a:pt x="516" y="370"/>
                </a:lnTo>
                <a:lnTo>
                  <a:pt x="518" y="372"/>
                </a:lnTo>
                <a:lnTo>
                  <a:pt x="518" y="374"/>
                </a:lnTo>
                <a:lnTo>
                  <a:pt x="518" y="376"/>
                </a:lnTo>
                <a:lnTo>
                  <a:pt x="518" y="378"/>
                </a:lnTo>
                <a:lnTo>
                  <a:pt x="520" y="380"/>
                </a:lnTo>
                <a:lnTo>
                  <a:pt x="520" y="382"/>
                </a:lnTo>
                <a:lnTo>
                  <a:pt x="520" y="384"/>
                </a:lnTo>
                <a:lnTo>
                  <a:pt x="522" y="386"/>
                </a:lnTo>
                <a:lnTo>
                  <a:pt x="522" y="386"/>
                </a:lnTo>
                <a:lnTo>
                  <a:pt x="522" y="386"/>
                </a:lnTo>
                <a:lnTo>
                  <a:pt x="522" y="387"/>
                </a:lnTo>
                <a:lnTo>
                  <a:pt x="522" y="387"/>
                </a:lnTo>
                <a:lnTo>
                  <a:pt x="522" y="387"/>
                </a:lnTo>
                <a:lnTo>
                  <a:pt x="522" y="389"/>
                </a:lnTo>
                <a:lnTo>
                  <a:pt x="522" y="389"/>
                </a:lnTo>
                <a:lnTo>
                  <a:pt x="524" y="389"/>
                </a:lnTo>
                <a:lnTo>
                  <a:pt x="524" y="391"/>
                </a:lnTo>
                <a:lnTo>
                  <a:pt x="524" y="393"/>
                </a:lnTo>
                <a:lnTo>
                  <a:pt x="524" y="395"/>
                </a:lnTo>
                <a:lnTo>
                  <a:pt x="526" y="397"/>
                </a:lnTo>
                <a:lnTo>
                  <a:pt x="526" y="399"/>
                </a:lnTo>
                <a:lnTo>
                  <a:pt x="526" y="401"/>
                </a:lnTo>
                <a:lnTo>
                  <a:pt x="527" y="401"/>
                </a:lnTo>
                <a:lnTo>
                  <a:pt x="527" y="403"/>
                </a:lnTo>
                <a:lnTo>
                  <a:pt x="527" y="405"/>
                </a:lnTo>
                <a:lnTo>
                  <a:pt x="527" y="405"/>
                </a:lnTo>
                <a:lnTo>
                  <a:pt x="527" y="405"/>
                </a:lnTo>
                <a:lnTo>
                  <a:pt x="527" y="407"/>
                </a:lnTo>
                <a:lnTo>
                  <a:pt x="527" y="407"/>
                </a:lnTo>
                <a:lnTo>
                  <a:pt x="527" y="407"/>
                </a:lnTo>
                <a:lnTo>
                  <a:pt x="527" y="407"/>
                </a:lnTo>
                <a:lnTo>
                  <a:pt x="527" y="409"/>
                </a:lnTo>
                <a:lnTo>
                  <a:pt x="529" y="411"/>
                </a:lnTo>
                <a:lnTo>
                  <a:pt x="529" y="412"/>
                </a:lnTo>
                <a:lnTo>
                  <a:pt x="529" y="414"/>
                </a:lnTo>
                <a:lnTo>
                  <a:pt x="531" y="416"/>
                </a:lnTo>
                <a:lnTo>
                  <a:pt x="531" y="416"/>
                </a:lnTo>
                <a:lnTo>
                  <a:pt x="531" y="418"/>
                </a:lnTo>
                <a:lnTo>
                  <a:pt x="531" y="420"/>
                </a:lnTo>
                <a:lnTo>
                  <a:pt x="533" y="422"/>
                </a:lnTo>
                <a:lnTo>
                  <a:pt x="533" y="424"/>
                </a:lnTo>
                <a:lnTo>
                  <a:pt x="533" y="424"/>
                </a:lnTo>
                <a:lnTo>
                  <a:pt x="533" y="424"/>
                </a:lnTo>
                <a:lnTo>
                  <a:pt x="533" y="426"/>
                </a:lnTo>
                <a:lnTo>
                  <a:pt x="533" y="426"/>
                </a:lnTo>
                <a:lnTo>
                  <a:pt x="533" y="426"/>
                </a:lnTo>
                <a:lnTo>
                  <a:pt x="533" y="426"/>
                </a:lnTo>
                <a:lnTo>
                  <a:pt x="533" y="428"/>
                </a:lnTo>
                <a:lnTo>
                  <a:pt x="535" y="430"/>
                </a:lnTo>
                <a:lnTo>
                  <a:pt x="535" y="432"/>
                </a:lnTo>
                <a:lnTo>
                  <a:pt x="535" y="434"/>
                </a:lnTo>
                <a:lnTo>
                  <a:pt x="535" y="435"/>
                </a:lnTo>
                <a:lnTo>
                  <a:pt x="537" y="437"/>
                </a:lnTo>
                <a:lnTo>
                  <a:pt x="537" y="439"/>
                </a:lnTo>
                <a:lnTo>
                  <a:pt x="537" y="441"/>
                </a:lnTo>
                <a:lnTo>
                  <a:pt x="539" y="443"/>
                </a:lnTo>
                <a:lnTo>
                  <a:pt x="539" y="443"/>
                </a:lnTo>
                <a:lnTo>
                  <a:pt x="539" y="445"/>
                </a:lnTo>
                <a:lnTo>
                  <a:pt x="539" y="445"/>
                </a:lnTo>
                <a:lnTo>
                  <a:pt x="539" y="445"/>
                </a:lnTo>
                <a:lnTo>
                  <a:pt x="539" y="445"/>
                </a:lnTo>
                <a:lnTo>
                  <a:pt x="539" y="447"/>
                </a:lnTo>
                <a:lnTo>
                  <a:pt x="539" y="447"/>
                </a:lnTo>
                <a:lnTo>
                  <a:pt x="539" y="447"/>
                </a:lnTo>
                <a:lnTo>
                  <a:pt x="539" y="449"/>
                </a:lnTo>
                <a:lnTo>
                  <a:pt x="541" y="451"/>
                </a:lnTo>
                <a:lnTo>
                  <a:pt x="541" y="455"/>
                </a:lnTo>
                <a:lnTo>
                  <a:pt x="541" y="457"/>
                </a:lnTo>
                <a:lnTo>
                  <a:pt x="541" y="458"/>
                </a:lnTo>
                <a:lnTo>
                  <a:pt x="543" y="460"/>
                </a:lnTo>
                <a:lnTo>
                  <a:pt x="543" y="462"/>
                </a:lnTo>
                <a:lnTo>
                  <a:pt x="543" y="464"/>
                </a:lnTo>
                <a:lnTo>
                  <a:pt x="543" y="464"/>
                </a:lnTo>
                <a:lnTo>
                  <a:pt x="543" y="464"/>
                </a:lnTo>
                <a:lnTo>
                  <a:pt x="543" y="466"/>
                </a:lnTo>
                <a:lnTo>
                  <a:pt x="543" y="466"/>
                </a:lnTo>
                <a:lnTo>
                  <a:pt x="543" y="466"/>
                </a:lnTo>
                <a:lnTo>
                  <a:pt x="543" y="466"/>
                </a:lnTo>
                <a:lnTo>
                  <a:pt x="543" y="468"/>
                </a:lnTo>
                <a:lnTo>
                  <a:pt x="545" y="468"/>
                </a:lnTo>
                <a:lnTo>
                  <a:pt x="545" y="470"/>
                </a:lnTo>
                <a:lnTo>
                  <a:pt x="545" y="472"/>
                </a:lnTo>
                <a:lnTo>
                  <a:pt x="545" y="474"/>
                </a:lnTo>
                <a:lnTo>
                  <a:pt x="545" y="476"/>
                </a:lnTo>
                <a:lnTo>
                  <a:pt x="547" y="478"/>
                </a:lnTo>
                <a:lnTo>
                  <a:pt x="547" y="480"/>
                </a:lnTo>
                <a:lnTo>
                  <a:pt x="547" y="482"/>
                </a:lnTo>
                <a:lnTo>
                  <a:pt x="547" y="483"/>
                </a:lnTo>
                <a:lnTo>
                  <a:pt x="547" y="483"/>
                </a:lnTo>
                <a:lnTo>
                  <a:pt x="547" y="483"/>
                </a:lnTo>
                <a:lnTo>
                  <a:pt x="547" y="485"/>
                </a:lnTo>
                <a:lnTo>
                  <a:pt x="547" y="485"/>
                </a:lnTo>
                <a:lnTo>
                  <a:pt x="547" y="485"/>
                </a:lnTo>
                <a:lnTo>
                  <a:pt x="547" y="485"/>
                </a:lnTo>
                <a:lnTo>
                  <a:pt x="549" y="485"/>
                </a:lnTo>
                <a:lnTo>
                  <a:pt x="549" y="485"/>
                </a:lnTo>
                <a:lnTo>
                  <a:pt x="549" y="487"/>
                </a:lnTo>
                <a:lnTo>
                  <a:pt x="549" y="491"/>
                </a:lnTo>
                <a:lnTo>
                  <a:pt x="549" y="493"/>
                </a:lnTo>
                <a:lnTo>
                  <a:pt x="549" y="495"/>
                </a:lnTo>
                <a:lnTo>
                  <a:pt x="551" y="497"/>
                </a:lnTo>
                <a:lnTo>
                  <a:pt x="551" y="499"/>
                </a:lnTo>
                <a:lnTo>
                  <a:pt x="551" y="501"/>
                </a:lnTo>
                <a:lnTo>
                  <a:pt x="551" y="505"/>
                </a:lnTo>
                <a:lnTo>
                  <a:pt x="551" y="505"/>
                </a:lnTo>
                <a:lnTo>
                  <a:pt x="551" y="505"/>
                </a:lnTo>
                <a:lnTo>
                  <a:pt x="551" y="505"/>
                </a:lnTo>
                <a:lnTo>
                  <a:pt x="551" y="505"/>
                </a:lnTo>
                <a:lnTo>
                  <a:pt x="551" y="506"/>
                </a:lnTo>
                <a:lnTo>
                  <a:pt x="552" y="506"/>
                </a:lnTo>
                <a:lnTo>
                  <a:pt x="552" y="506"/>
                </a:lnTo>
                <a:lnTo>
                  <a:pt x="552" y="506"/>
                </a:lnTo>
                <a:lnTo>
                  <a:pt x="552" y="508"/>
                </a:lnTo>
                <a:lnTo>
                  <a:pt x="552" y="512"/>
                </a:lnTo>
                <a:lnTo>
                  <a:pt x="552" y="514"/>
                </a:lnTo>
                <a:lnTo>
                  <a:pt x="552" y="516"/>
                </a:lnTo>
                <a:lnTo>
                  <a:pt x="554" y="518"/>
                </a:lnTo>
                <a:lnTo>
                  <a:pt x="554" y="520"/>
                </a:lnTo>
                <a:lnTo>
                  <a:pt x="554" y="522"/>
                </a:lnTo>
                <a:lnTo>
                  <a:pt x="554" y="524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54" y="526"/>
                </a:lnTo>
                <a:lnTo>
                  <a:pt x="522" y="535"/>
                </a:lnTo>
                <a:lnTo>
                  <a:pt x="489" y="545"/>
                </a:lnTo>
                <a:lnTo>
                  <a:pt x="455" y="553"/>
                </a:lnTo>
                <a:lnTo>
                  <a:pt x="420" y="558"/>
                </a:lnTo>
                <a:lnTo>
                  <a:pt x="385" y="564"/>
                </a:lnTo>
                <a:lnTo>
                  <a:pt x="349" y="566"/>
                </a:lnTo>
                <a:lnTo>
                  <a:pt x="314" y="568"/>
                </a:lnTo>
                <a:lnTo>
                  <a:pt x="278" y="570"/>
                </a:lnTo>
                <a:lnTo>
                  <a:pt x="241" y="568"/>
                </a:lnTo>
                <a:lnTo>
                  <a:pt x="205" y="566"/>
                </a:lnTo>
                <a:lnTo>
                  <a:pt x="170" y="564"/>
                </a:lnTo>
                <a:lnTo>
                  <a:pt x="134" y="558"/>
                </a:lnTo>
                <a:lnTo>
                  <a:pt x="99" y="553"/>
                </a:lnTo>
                <a:lnTo>
                  <a:pt x="67" y="545"/>
                </a:lnTo>
                <a:lnTo>
                  <a:pt x="32" y="535"/>
                </a:lnTo>
                <a:lnTo>
                  <a:pt x="0" y="526"/>
                </a:lnTo>
                <a:close/>
              </a:path>
            </a:pathLst>
          </a:custGeom>
          <a:solidFill>
            <a:srgbClr val="FF66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endParaRPr lang="en-US"/>
          </a:p>
        </p:txBody>
      </p:sp>
      <p:sp>
        <p:nvSpPr>
          <p:cNvPr id="26640" name="Rectangle 16"/>
          <p:cNvSpPr>
            <a:spLocks noChangeArrowheads="1"/>
          </p:cNvSpPr>
          <p:nvPr/>
        </p:nvSpPr>
        <p:spPr bwMode="auto">
          <a:xfrm>
            <a:off x="3985685" y="3459954"/>
            <a:ext cx="443706" cy="28644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eaLnBrk="0" hangingPunct="0"/>
            <a:r>
              <a:rPr lang="en-US" sz="14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6641" name="Rectangle 17"/>
          <p:cNvSpPr>
            <a:spLocks noChangeArrowheads="1"/>
          </p:cNvSpPr>
          <p:nvPr/>
        </p:nvSpPr>
        <p:spPr bwMode="auto">
          <a:xfrm>
            <a:off x="5461266" y="3459954"/>
            <a:ext cx="443706" cy="28644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eaLnBrk="0" hangingPunct="0"/>
            <a:r>
              <a:rPr lang="en-US" sz="14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6642" name="Rectangle 18"/>
          <p:cNvSpPr>
            <a:spLocks noChangeArrowheads="1"/>
          </p:cNvSpPr>
          <p:nvPr/>
        </p:nvSpPr>
        <p:spPr bwMode="auto">
          <a:xfrm>
            <a:off x="4711437" y="3925171"/>
            <a:ext cx="466064" cy="28478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eaLnBrk="0" hangingPunct="0"/>
            <a:r>
              <a:rPr lang="en-US" sz="14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6643" name="Rectangle 19"/>
          <p:cNvSpPr>
            <a:spLocks noChangeArrowheads="1"/>
          </p:cNvSpPr>
          <p:nvPr/>
        </p:nvSpPr>
        <p:spPr bwMode="auto">
          <a:xfrm>
            <a:off x="4721756" y="4648991"/>
            <a:ext cx="443706" cy="28644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eaLnBrk="0" hangingPunct="0"/>
            <a:r>
              <a:rPr lang="en-US" sz="14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Interlocking Circles 2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153322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06506" y="1540137"/>
            <a:ext cx="2015596" cy="1949213"/>
            <a:chOff x="323850" y="1628800"/>
            <a:chExt cx="1860550" cy="1860550"/>
          </a:xfrm>
        </p:grpSpPr>
        <p:sp>
          <p:nvSpPr>
            <p:cNvPr id="36947" name="Freeform 83"/>
            <p:cNvSpPr>
              <a:spLocks noChangeAspect="1"/>
            </p:cNvSpPr>
            <p:nvPr/>
          </p:nvSpPr>
          <p:spPr bwMode="auto">
            <a:xfrm>
              <a:off x="1254125" y="1628800"/>
              <a:ext cx="930275" cy="1860550"/>
            </a:xfrm>
            <a:custGeom>
              <a:avLst/>
              <a:gdLst/>
              <a:ahLst/>
              <a:cxnLst>
                <a:cxn ang="0">
                  <a:pos x="56" y="2"/>
                </a:cxn>
                <a:cxn ang="0">
                  <a:pos x="166" y="13"/>
                </a:cxn>
                <a:cxn ang="0">
                  <a:pos x="275" y="34"/>
                </a:cxn>
                <a:cxn ang="0">
                  <a:pos x="382" y="67"/>
                </a:cxn>
                <a:cxn ang="0">
                  <a:pos x="459" y="98"/>
                </a:cxn>
                <a:cxn ang="0">
                  <a:pos x="559" y="147"/>
                </a:cxn>
                <a:cxn ang="0">
                  <a:pos x="654" y="207"/>
                </a:cxn>
                <a:cxn ang="0">
                  <a:pos x="742" y="275"/>
                </a:cxn>
                <a:cxn ang="0">
                  <a:pos x="803" y="332"/>
                </a:cxn>
                <a:cxn ang="0">
                  <a:pos x="878" y="415"/>
                </a:cxn>
                <a:cxn ang="0">
                  <a:pos x="944" y="504"/>
                </a:cxn>
                <a:cxn ang="0">
                  <a:pos x="1001" y="601"/>
                </a:cxn>
                <a:cxn ang="0">
                  <a:pos x="1048" y="701"/>
                </a:cxn>
                <a:cxn ang="0">
                  <a:pos x="1086" y="806"/>
                </a:cxn>
                <a:cxn ang="0">
                  <a:pos x="1113" y="914"/>
                </a:cxn>
                <a:cxn ang="0">
                  <a:pos x="1130" y="1024"/>
                </a:cxn>
                <a:cxn ang="0">
                  <a:pos x="1135" y="1135"/>
                </a:cxn>
                <a:cxn ang="0">
                  <a:pos x="1129" y="1246"/>
                </a:cxn>
                <a:cxn ang="0">
                  <a:pos x="1113" y="1356"/>
                </a:cxn>
                <a:cxn ang="0">
                  <a:pos x="1086" y="1464"/>
                </a:cxn>
                <a:cxn ang="0">
                  <a:pos x="1059" y="1543"/>
                </a:cxn>
                <a:cxn ang="0">
                  <a:pos x="1014" y="1645"/>
                </a:cxn>
                <a:cxn ang="0">
                  <a:pos x="959" y="1743"/>
                </a:cxn>
                <a:cxn ang="0">
                  <a:pos x="895" y="1834"/>
                </a:cxn>
                <a:cxn ang="0">
                  <a:pos x="832" y="1908"/>
                </a:cxn>
                <a:cxn ang="0">
                  <a:pos x="762" y="1976"/>
                </a:cxn>
                <a:cxn ang="0">
                  <a:pos x="676" y="2047"/>
                </a:cxn>
                <a:cxn ang="0">
                  <a:pos x="584" y="2109"/>
                </a:cxn>
                <a:cxn ang="0">
                  <a:pos x="485" y="2161"/>
                </a:cxn>
                <a:cxn ang="0">
                  <a:pos x="382" y="2204"/>
                </a:cxn>
                <a:cxn ang="0">
                  <a:pos x="276" y="2236"/>
                </a:cxn>
                <a:cxn ang="0">
                  <a:pos x="167" y="2258"/>
                </a:cxn>
                <a:cxn ang="0">
                  <a:pos x="56" y="2269"/>
                </a:cxn>
                <a:cxn ang="0">
                  <a:pos x="17" y="1475"/>
                </a:cxn>
                <a:cxn ang="0">
                  <a:pos x="60" y="1470"/>
                </a:cxn>
                <a:cxn ang="0">
                  <a:pos x="117" y="1455"/>
                </a:cxn>
                <a:cxn ang="0">
                  <a:pos x="176" y="1426"/>
                </a:cxn>
                <a:cxn ang="0">
                  <a:pos x="229" y="1387"/>
                </a:cxn>
                <a:cxn ang="0">
                  <a:pos x="273" y="1339"/>
                </a:cxn>
                <a:cxn ang="0">
                  <a:pos x="307" y="1283"/>
                </a:cxn>
                <a:cxn ang="0">
                  <a:pos x="325" y="1236"/>
                </a:cxn>
                <a:cxn ang="0">
                  <a:pos x="335" y="1195"/>
                </a:cxn>
                <a:cxn ang="0">
                  <a:pos x="340" y="1135"/>
                </a:cxn>
                <a:cxn ang="0">
                  <a:pos x="336" y="1083"/>
                </a:cxn>
                <a:cxn ang="0">
                  <a:pos x="325" y="1034"/>
                </a:cxn>
                <a:cxn ang="0">
                  <a:pos x="299" y="973"/>
                </a:cxn>
                <a:cxn ang="0">
                  <a:pos x="262" y="919"/>
                </a:cxn>
                <a:cxn ang="0">
                  <a:pos x="216" y="873"/>
                </a:cxn>
                <a:cxn ang="0">
                  <a:pos x="162" y="836"/>
                </a:cxn>
                <a:cxn ang="0">
                  <a:pos x="117" y="816"/>
                </a:cxn>
                <a:cxn ang="0">
                  <a:pos x="69" y="802"/>
                </a:cxn>
                <a:cxn ang="0">
                  <a:pos x="17" y="795"/>
                </a:cxn>
              </a:cxnLst>
              <a:rect l="0" t="0" r="r" b="b"/>
              <a:pathLst>
                <a:path w="1135" h="2270">
                  <a:moveTo>
                    <a:pt x="0" y="795"/>
                  </a:moveTo>
                  <a:lnTo>
                    <a:pt x="0" y="0"/>
                  </a:lnTo>
                  <a:lnTo>
                    <a:pt x="28" y="1"/>
                  </a:lnTo>
                  <a:lnTo>
                    <a:pt x="56" y="2"/>
                  </a:lnTo>
                  <a:lnTo>
                    <a:pt x="83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6" y="13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8" y="28"/>
                  </a:lnTo>
                  <a:lnTo>
                    <a:pt x="275" y="34"/>
                  </a:lnTo>
                  <a:lnTo>
                    <a:pt x="302" y="41"/>
                  </a:lnTo>
                  <a:lnTo>
                    <a:pt x="329" y="49"/>
                  </a:lnTo>
                  <a:lnTo>
                    <a:pt x="356" y="58"/>
                  </a:lnTo>
                  <a:lnTo>
                    <a:pt x="382" y="67"/>
                  </a:lnTo>
                  <a:lnTo>
                    <a:pt x="395" y="71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59" y="98"/>
                  </a:lnTo>
                  <a:lnTo>
                    <a:pt x="485" y="109"/>
                  </a:lnTo>
                  <a:lnTo>
                    <a:pt x="510" y="121"/>
                  </a:lnTo>
                  <a:lnTo>
                    <a:pt x="535" y="134"/>
                  </a:lnTo>
                  <a:lnTo>
                    <a:pt x="559" y="147"/>
                  </a:lnTo>
                  <a:lnTo>
                    <a:pt x="584" y="161"/>
                  </a:lnTo>
                  <a:lnTo>
                    <a:pt x="608" y="176"/>
                  </a:lnTo>
                  <a:lnTo>
                    <a:pt x="631" y="191"/>
                  </a:lnTo>
                  <a:lnTo>
                    <a:pt x="654" y="207"/>
                  </a:lnTo>
                  <a:lnTo>
                    <a:pt x="677" y="223"/>
                  </a:lnTo>
                  <a:lnTo>
                    <a:pt x="699" y="240"/>
                  </a:lnTo>
                  <a:lnTo>
                    <a:pt x="720" y="257"/>
                  </a:lnTo>
                  <a:lnTo>
                    <a:pt x="742" y="275"/>
                  </a:lnTo>
                  <a:lnTo>
                    <a:pt x="763" y="294"/>
                  </a:lnTo>
                  <a:lnTo>
                    <a:pt x="773" y="303"/>
                  </a:lnTo>
                  <a:lnTo>
                    <a:pt x="783" y="313"/>
                  </a:lnTo>
                  <a:lnTo>
                    <a:pt x="803" y="332"/>
                  </a:lnTo>
                  <a:lnTo>
                    <a:pt x="822" y="352"/>
                  </a:lnTo>
                  <a:lnTo>
                    <a:pt x="841" y="373"/>
                  </a:lnTo>
                  <a:lnTo>
                    <a:pt x="860" y="394"/>
                  </a:lnTo>
                  <a:lnTo>
                    <a:pt x="878" y="415"/>
                  </a:lnTo>
                  <a:lnTo>
                    <a:pt x="895" y="437"/>
                  </a:lnTo>
                  <a:lnTo>
                    <a:pt x="912" y="459"/>
                  </a:lnTo>
                  <a:lnTo>
                    <a:pt x="928" y="481"/>
                  </a:lnTo>
                  <a:lnTo>
                    <a:pt x="944" y="504"/>
                  </a:lnTo>
                  <a:lnTo>
                    <a:pt x="959" y="528"/>
                  </a:lnTo>
                  <a:lnTo>
                    <a:pt x="973" y="551"/>
                  </a:lnTo>
                  <a:lnTo>
                    <a:pt x="987" y="576"/>
                  </a:lnTo>
                  <a:lnTo>
                    <a:pt x="1001" y="601"/>
                  </a:lnTo>
                  <a:lnTo>
                    <a:pt x="1014" y="625"/>
                  </a:lnTo>
                  <a:lnTo>
                    <a:pt x="1026" y="650"/>
                  </a:lnTo>
                  <a:lnTo>
                    <a:pt x="1037" y="676"/>
                  </a:lnTo>
                  <a:lnTo>
                    <a:pt x="1048" y="701"/>
                  </a:lnTo>
                  <a:lnTo>
                    <a:pt x="1059" y="727"/>
                  </a:lnTo>
                  <a:lnTo>
                    <a:pt x="1069" y="753"/>
                  </a:lnTo>
                  <a:lnTo>
                    <a:pt x="1078" y="779"/>
                  </a:lnTo>
                  <a:lnTo>
                    <a:pt x="1086" y="806"/>
                  </a:lnTo>
                  <a:lnTo>
                    <a:pt x="1094" y="833"/>
                  </a:lnTo>
                  <a:lnTo>
                    <a:pt x="1101" y="860"/>
                  </a:lnTo>
                  <a:lnTo>
                    <a:pt x="1108" y="887"/>
                  </a:lnTo>
                  <a:lnTo>
                    <a:pt x="1113" y="914"/>
                  </a:lnTo>
                  <a:lnTo>
                    <a:pt x="1119" y="941"/>
                  </a:lnTo>
                  <a:lnTo>
                    <a:pt x="1123" y="969"/>
                  </a:lnTo>
                  <a:lnTo>
                    <a:pt x="1127" y="996"/>
                  </a:lnTo>
                  <a:lnTo>
                    <a:pt x="1130" y="1024"/>
                  </a:lnTo>
                  <a:lnTo>
                    <a:pt x="1132" y="1052"/>
                  </a:lnTo>
                  <a:lnTo>
                    <a:pt x="1134" y="1079"/>
                  </a:lnTo>
                  <a:lnTo>
                    <a:pt x="1135" y="1107"/>
                  </a:lnTo>
                  <a:lnTo>
                    <a:pt x="1135" y="1135"/>
                  </a:lnTo>
                  <a:lnTo>
                    <a:pt x="1135" y="1163"/>
                  </a:lnTo>
                  <a:lnTo>
                    <a:pt x="1134" y="1191"/>
                  </a:lnTo>
                  <a:lnTo>
                    <a:pt x="1132" y="1219"/>
                  </a:lnTo>
                  <a:lnTo>
                    <a:pt x="1129" y="1246"/>
                  </a:lnTo>
                  <a:lnTo>
                    <a:pt x="1126" y="1274"/>
                  </a:lnTo>
                  <a:lnTo>
                    <a:pt x="1123" y="1302"/>
                  </a:lnTo>
                  <a:lnTo>
                    <a:pt x="1118" y="1329"/>
                  </a:lnTo>
                  <a:lnTo>
                    <a:pt x="1113" y="1356"/>
                  </a:lnTo>
                  <a:lnTo>
                    <a:pt x="1107" y="1384"/>
                  </a:lnTo>
                  <a:lnTo>
                    <a:pt x="1101" y="1411"/>
                  </a:lnTo>
                  <a:lnTo>
                    <a:pt x="1094" y="1438"/>
                  </a:lnTo>
                  <a:lnTo>
                    <a:pt x="1086" y="1464"/>
                  </a:lnTo>
                  <a:lnTo>
                    <a:pt x="1078" y="1491"/>
                  </a:lnTo>
                  <a:lnTo>
                    <a:pt x="1068" y="1517"/>
                  </a:lnTo>
                  <a:lnTo>
                    <a:pt x="1064" y="1530"/>
                  </a:lnTo>
                  <a:lnTo>
                    <a:pt x="1059" y="1543"/>
                  </a:lnTo>
                  <a:lnTo>
                    <a:pt x="1048" y="1569"/>
                  </a:lnTo>
                  <a:lnTo>
                    <a:pt x="1038" y="1595"/>
                  </a:lnTo>
                  <a:lnTo>
                    <a:pt x="1026" y="1620"/>
                  </a:lnTo>
                  <a:lnTo>
                    <a:pt x="1014" y="1645"/>
                  </a:lnTo>
                  <a:lnTo>
                    <a:pt x="1001" y="1670"/>
                  </a:lnTo>
                  <a:lnTo>
                    <a:pt x="988" y="1694"/>
                  </a:lnTo>
                  <a:lnTo>
                    <a:pt x="974" y="1719"/>
                  </a:lnTo>
                  <a:lnTo>
                    <a:pt x="959" y="1743"/>
                  </a:lnTo>
                  <a:lnTo>
                    <a:pt x="944" y="1766"/>
                  </a:lnTo>
                  <a:lnTo>
                    <a:pt x="928" y="1789"/>
                  </a:lnTo>
                  <a:lnTo>
                    <a:pt x="912" y="1812"/>
                  </a:lnTo>
                  <a:lnTo>
                    <a:pt x="895" y="1834"/>
                  </a:lnTo>
                  <a:lnTo>
                    <a:pt x="878" y="1856"/>
                  </a:lnTo>
                  <a:lnTo>
                    <a:pt x="860" y="1877"/>
                  </a:lnTo>
                  <a:lnTo>
                    <a:pt x="841" y="1898"/>
                  </a:lnTo>
                  <a:lnTo>
                    <a:pt x="832" y="1908"/>
                  </a:lnTo>
                  <a:lnTo>
                    <a:pt x="822" y="1918"/>
                  </a:lnTo>
                  <a:lnTo>
                    <a:pt x="803" y="1938"/>
                  </a:lnTo>
                  <a:lnTo>
                    <a:pt x="783" y="1957"/>
                  </a:lnTo>
                  <a:lnTo>
                    <a:pt x="762" y="1976"/>
                  </a:lnTo>
                  <a:lnTo>
                    <a:pt x="742" y="1995"/>
                  </a:lnTo>
                  <a:lnTo>
                    <a:pt x="720" y="2013"/>
                  </a:lnTo>
                  <a:lnTo>
                    <a:pt x="699" y="2030"/>
                  </a:lnTo>
                  <a:lnTo>
                    <a:pt x="676" y="2047"/>
                  </a:lnTo>
                  <a:lnTo>
                    <a:pt x="654" y="2063"/>
                  </a:lnTo>
                  <a:lnTo>
                    <a:pt x="631" y="2079"/>
                  </a:lnTo>
                  <a:lnTo>
                    <a:pt x="608" y="2094"/>
                  </a:lnTo>
                  <a:lnTo>
                    <a:pt x="584" y="2109"/>
                  </a:lnTo>
                  <a:lnTo>
                    <a:pt x="559" y="2123"/>
                  </a:lnTo>
                  <a:lnTo>
                    <a:pt x="534" y="2136"/>
                  </a:lnTo>
                  <a:lnTo>
                    <a:pt x="510" y="2149"/>
                  </a:lnTo>
                  <a:lnTo>
                    <a:pt x="485" y="2161"/>
                  </a:lnTo>
                  <a:lnTo>
                    <a:pt x="459" y="2173"/>
                  </a:lnTo>
                  <a:lnTo>
                    <a:pt x="434" y="2184"/>
                  </a:lnTo>
                  <a:lnTo>
                    <a:pt x="408" y="2194"/>
                  </a:lnTo>
                  <a:lnTo>
                    <a:pt x="382" y="2204"/>
                  </a:lnTo>
                  <a:lnTo>
                    <a:pt x="356" y="2213"/>
                  </a:lnTo>
                  <a:lnTo>
                    <a:pt x="329" y="2221"/>
                  </a:lnTo>
                  <a:lnTo>
                    <a:pt x="302" y="2229"/>
                  </a:lnTo>
                  <a:lnTo>
                    <a:pt x="276" y="2236"/>
                  </a:lnTo>
                  <a:lnTo>
                    <a:pt x="249" y="2243"/>
                  </a:lnTo>
                  <a:lnTo>
                    <a:pt x="221" y="2249"/>
                  </a:lnTo>
                  <a:lnTo>
                    <a:pt x="194" y="2254"/>
                  </a:lnTo>
                  <a:lnTo>
                    <a:pt x="167" y="2258"/>
                  </a:lnTo>
                  <a:lnTo>
                    <a:pt x="139" y="2262"/>
                  </a:lnTo>
                  <a:lnTo>
                    <a:pt x="111" y="2265"/>
                  </a:lnTo>
                  <a:lnTo>
                    <a:pt x="84" y="2267"/>
                  </a:lnTo>
                  <a:lnTo>
                    <a:pt x="56" y="2269"/>
                  </a:lnTo>
                  <a:lnTo>
                    <a:pt x="28" y="2270"/>
                  </a:lnTo>
                  <a:lnTo>
                    <a:pt x="0" y="2270"/>
                  </a:lnTo>
                  <a:lnTo>
                    <a:pt x="0" y="1475"/>
                  </a:lnTo>
                  <a:lnTo>
                    <a:pt x="17" y="1475"/>
                  </a:lnTo>
                  <a:lnTo>
                    <a:pt x="35" y="1474"/>
                  </a:lnTo>
                  <a:lnTo>
                    <a:pt x="43" y="1473"/>
                  </a:lnTo>
                  <a:lnTo>
                    <a:pt x="52" y="1471"/>
                  </a:lnTo>
                  <a:lnTo>
                    <a:pt x="60" y="1470"/>
                  </a:lnTo>
                  <a:lnTo>
                    <a:pt x="69" y="1468"/>
                  </a:lnTo>
                  <a:lnTo>
                    <a:pt x="85" y="1465"/>
                  </a:lnTo>
                  <a:lnTo>
                    <a:pt x="101" y="1460"/>
                  </a:lnTo>
                  <a:lnTo>
                    <a:pt x="117" y="1455"/>
                  </a:lnTo>
                  <a:lnTo>
                    <a:pt x="132" y="1449"/>
                  </a:lnTo>
                  <a:lnTo>
                    <a:pt x="147" y="1442"/>
                  </a:lnTo>
                  <a:lnTo>
                    <a:pt x="162" y="1434"/>
                  </a:lnTo>
                  <a:lnTo>
                    <a:pt x="176" y="1426"/>
                  </a:lnTo>
                  <a:lnTo>
                    <a:pt x="190" y="1417"/>
                  </a:lnTo>
                  <a:lnTo>
                    <a:pt x="203" y="1408"/>
                  </a:lnTo>
                  <a:lnTo>
                    <a:pt x="216" y="1398"/>
                  </a:lnTo>
                  <a:lnTo>
                    <a:pt x="229" y="1387"/>
                  </a:lnTo>
                  <a:lnTo>
                    <a:pt x="240" y="1376"/>
                  </a:lnTo>
                  <a:lnTo>
                    <a:pt x="252" y="1364"/>
                  </a:lnTo>
                  <a:lnTo>
                    <a:pt x="262" y="1352"/>
                  </a:lnTo>
                  <a:lnTo>
                    <a:pt x="273" y="1339"/>
                  </a:lnTo>
                  <a:lnTo>
                    <a:pt x="282" y="1325"/>
                  </a:lnTo>
                  <a:lnTo>
                    <a:pt x="291" y="1312"/>
                  </a:lnTo>
                  <a:lnTo>
                    <a:pt x="299" y="1297"/>
                  </a:lnTo>
                  <a:lnTo>
                    <a:pt x="307" y="1283"/>
                  </a:lnTo>
                  <a:lnTo>
                    <a:pt x="313" y="1268"/>
                  </a:lnTo>
                  <a:lnTo>
                    <a:pt x="317" y="1260"/>
                  </a:lnTo>
                  <a:lnTo>
                    <a:pt x="319" y="1252"/>
                  </a:lnTo>
                  <a:lnTo>
                    <a:pt x="325" y="1236"/>
                  </a:lnTo>
                  <a:lnTo>
                    <a:pt x="327" y="1228"/>
                  </a:lnTo>
                  <a:lnTo>
                    <a:pt x="329" y="1220"/>
                  </a:lnTo>
                  <a:lnTo>
                    <a:pt x="333" y="1204"/>
                  </a:lnTo>
                  <a:lnTo>
                    <a:pt x="335" y="1195"/>
                  </a:lnTo>
                  <a:lnTo>
                    <a:pt x="336" y="1187"/>
                  </a:lnTo>
                  <a:lnTo>
                    <a:pt x="338" y="1170"/>
                  </a:lnTo>
                  <a:lnTo>
                    <a:pt x="340" y="1153"/>
                  </a:lnTo>
                  <a:lnTo>
                    <a:pt x="340" y="1135"/>
                  </a:lnTo>
                  <a:lnTo>
                    <a:pt x="340" y="1118"/>
                  </a:lnTo>
                  <a:lnTo>
                    <a:pt x="338" y="1100"/>
                  </a:lnTo>
                  <a:lnTo>
                    <a:pt x="337" y="1092"/>
                  </a:lnTo>
                  <a:lnTo>
                    <a:pt x="336" y="1083"/>
                  </a:lnTo>
                  <a:lnTo>
                    <a:pt x="335" y="1075"/>
                  </a:lnTo>
                  <a:lnTo>
                    <a:pt x="333" y="1067"/>
                  </a:lnTo>
                  <a:lnTo>
                    <a:pt x="329" y="1050"/>
                  </a:lnTo>
                  <a:lnTo>
                    <a:pt x="325" y="1034"/>
                  </a:lnTo>
                  <a:lnTo>
                    <a:pt x="319" y="1018"/>
                  </a:lnTo>
                  <a:lnTo>
                    <a:pt x="313" y="1003"/>
                  </a:lnTo>
                  <a:lnTo>
                    <a:pt x="307" y="988"/>
                  </a:lnTo>
                  <a:lnTo>
                    <a:pt x="299" y="973"/>
                  </a:lnTo>
                  <a:lnTo>
                    <a:pt x="291" y="959"/>
                  </a:lnTo>
                  <a:lnTo>
                    <a:pt x="282" y="945"/>
                  </a:lnTo>
                  <a:lnTo>
                    <a:pt x="273" y="932"/>
                  </a:lnTo>
                  <a:lnTo>
                    <a:pt x="262" y="919"/>
                  </a:lnTo>
                  <a:lnTo>
                    <a:pt x="252" y="906"/>
                  </a:lnTo>
                  <a:lnTo>
                    <a:pt x="240" y="895"/>
                  </a:lnTo>
                  <a:lnTo>
                    <a:pt x="229" y="883"/>
                  </a:lnTo>
                  <a:lnTo>
                    <a:pt x="216" y="873"/>
                  </a:lnTo>
                  <a:lnTo>
                    <a:pt x="203" y="863"/>
                  </a:lnTo>
                  <a:lnTo>
                    <a:pt x="190" y="853"/>
                  </a:lnTo>
                  <a:lnTo>
                    <a:pt x="176" y="844"/>
                  </a:lnTo>
                  <a:lnTo>
                    <a:pt x="162" y="836"/>
                  </a:lnTo>
                  <a:lnTo>
                    <a:pt x="147" y="829"/>
                  </a:lnTo>
                  <a:lnTo>
                    <a:pt x="132" y="822"/>
                  </a:lnTo>
                  <a:lnTo>
                    <a:pt x="125" y="819"/>
                  </a:lnTo>
                  <a:lnTo>
                    <a:pt x="117" y="816"/>
                  </a:lnTo>
                  <a:lnTo>
                    <a:pt x="101" y="810"/>
                  </a:lnTo>
                  <a:lnTo>
                    <a:pt x="93" y="808"/>
                  </a:lnTo>
                  <a:lnTo>
                    <a:pt x="85" y="806"/>
                  </a:lnTo>
                  <a:lnTo>
                    <a:pt x="69" y="802"/>
                  </a:lnTo>
                  <a:lnTo>
                    <a:pt x="60" y="800"/>
                  </a:lnTo>
                  <a:lnTo>
                    <a:pt x="52" y="799"/>
                  </a:lnTo>
                  <a:lnTo>
                    <a:pt x="35" y="797"/>
                  </a:lnTo>
                  <a:lnTo>
                    <a:pt x="17" y="795"/>
                  </a:lnTo>
                  <a:lnTo>
                    <a:pt x="0" y="795"/>
                  </a:lnTo>
                  <a:close/>
                </a:path>
              </a:pathLst>
            </a:custGeom>
            <a:solidFill>
              <a:srgbClr val="FF6600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48" name="Freeform 84"/>
            <p:cNvSpPr>
              <a:spLocks noChangeAspect="1"/>
            </p:cNvSpPr>
            <p:nvPr/>
          </p:nvSpPr>
          <p:spPr bwMode="auto">
            <a:xfrm>
              <a:off x="323850" y="1628800"/>
              <a:ext cx="930275" cy="1860550"/>
            </a:xfrm>
            <a:custGeom>
              <a:avLst/>
              <a:gdLst/>
              <a:ahLst/>
              <a:cxnLst>
                <a:cxn ang="0">
                  <a:pos x="1079" y="2269"/>
                </a:cxn>
                <a:cxn ang="0">
                  <a:pos x="969" y="2258"/>
                </a:cxn>
                <a:cxn ang="0">
                  <a:pos x="859" y="2236"/>
                </a:cxn>
                <a:cxn ang="0">
                  <a:pos x="753" y="2204"/>
                </a:cxn>
                <a:cxn ang="0">
                  <a:pos x="675" y="2173"/>
                </a:cxn>
                <a:cxn ang="0">
                  <a:pos x="576" y="2123"/>
                </a:cxn>
                <a:cxn ang="0">
                  <a:pos x="481" y="2064"/>
                </a:cxn>
                <a:cxn ang="0">
                  <a:pos x="393" y="1995"/>
                </a:cxn>
                <a:cxn ang="0">
                  <a:pos x="332" y="1938"/>
                </a:cxn>
                <a:cxn ang="0">
                  <a:pos x="257" y="1855"/>
                </a:cxn>
                <a:cxn ang="0">
                  <a:pos x="191" y="1766"/>
                </a:cxn>
                <a:cxn ang="0">
                  <a:pos x="134" y="1670"/>
                </a:cxn>
                <a:cxn ang="0">
                  <a:pos x="86" y="1569"/>
                </a:cxn>
                <a:cxn ang="0">
                  <a:pos x="49" y="1464"/>
                </a:cxn>
                <a:cxn ang="0">
                  <a:pos x="22" y="1356"/>
                </a:cxn>
                <a:cxn ang="0">
                  <a:pos x="5" y="1246"/>
                </a:cxn>
                <a:cxn ang="0">
                  <a:pos x="0" y="1135"/>
                </a:cxn>
                <a:cxn ang="0">
                  <a:pos x="6" y="1024"/>
                </a:cxn>
                <a:cxn ang="0">
                  <a:pos x="22" y="914"/>
                </a:cxn>
                <a:cxn ang="0">
                  <a:pos x="49" y="806"/>
                </a:cxn>
                <a:cxn ang="0">
                  <a:pos x="76" y="727"/>
                </a:cxn>
                <a:cxn ang="0">
                  <a:pos x="121" y="625"/>
                </a:cxn>
                <a:cxn ang="0">
                  <a:pos x="176" y="527"/>
                </a:cxn>
                <a:cxn ang="0">
                  <a:pos x="240" y="436"/>
                </a:cxn>
                <a:cxn ang="0">
                  <a:pos x="303" y="362"/>
                </a:cxn>
                <a:cxn ang="0">
                  <a:pos x="373" y="294"/>
                </a:cxn>
                <a:cxn ang="0">
                  <a:pos x="459" y="223"/>
                </a:cxn>
                <a:cxn ang="0">
                  <a:pos x="551" y="162"/>
                </a:cxn>
                <a:cxn ang="0">
                  <a:pos x="650" y="109"/>
                </a:cxn>
                <a:cxn ang="0">
                  <a:pos x="753" y="66"/>
                </a:cxn>
                <a:cxn ang="0">
                  <a:pos x="859" y="34"/>
                </a:cxn>
                <a:cxn ang="0">
                  <a:pos x="968" y="12"/>
                </a:cxn>
                <a:cxn ang="0">
                  <a:pos x="1079" y="1"/>
                </a:cxn>
                <a:cxn ang="0">
                  <a:pos x="1117" y="795"/>
                </a:cxn>
                <a:cxn ang="0">
                  <a:pos x="1075" y="800"/>
                </a:cxn>
                <a:cxn ang="0">
                  <a:pos x="1018" y="816"/>
                </a:cxn>
                <a:cxn ang="0">
                  <a:pos x="959" y="844"/>
                </a:cxn>
                <a:cxn ang="0">
                  <a:pos x="906" y="883"/>
                </a:cxn>
                <a:cxn ang="0">
                  <a:pos x="862" y="932"/>
                </a:cxn>
                <a:cxn ang="0">
                  <a:pos x="828" y="988"/>
                </a:cxn>
                <a:cxn ang="0">
                  <a:pos x="810" y="1034"/>
                </a:cxn>
                <a:cxn ang="0">
                  <a:pos x="800" y="1075"/>
                </a:cxn>
                <a:cxn ang="0">
                  <a:pos x="795" y="1135"/>
                </a:cxn>
                <a:cxn ang="0">
                  <a:pos x="799" y="1187"/>
                </a:cxn>
                <a:cxn ang="0">
                  <a:pos x="810" y="1236"/>
                </a:cxn>
                <a:cxn ang="0">
                  <a:pos x="836" y="1297"/>
                </a:cxn>
                <a:cxn ang="0">
                  <a:pos x="872" y="1351"/>
                </a:cxn>
                <a:cxn ang="0">
                  <a:pos x="919" y="1398"/>
                </a:cxn>
                <a:cxn ang="0">
                  <a:pos x="973" y="1434"/>
                </a:cxn>
                <a:cxn ang="0">
                  <a:pos x="1018" y="1455"/>
                </a:cxn>
                <a:cxn ang="0">
                  <a:pos x="1066" y="1468"/>
                </a:cxn>
                <a:cxn ang="0">
                  <a:pos x="1117" y="1475"/>
                </a:cxn>
              </a:cxnLst>
              <a:rect l="0" t="0" r="r" b="b"/>
              <a:pathLst>
                <a:path w="1135" h="2270">
                  <a:moveTo>
                    <a:pt x="1135" y="1475"/>
                  </a:moveTo>
                  <a:lnTo>
                    <a:pt x="1135" y="2270"/>
                  </a:lnTo>
                  <a:lnTo>
                    <a:pt x="1107" y="2270"/>
                  </a:lnTo>
                  <a:lnTo>
                    <a:pt x="1079" y="2269"/>
                  </a:lnTo>
                  <a:lnTo>
                    <a:pt x="1052" y="2267"/>
                  </a:lnTo>
                  <a:lnTo>
                    <a:pt x="1024" y="2265"/>
                  </a:lnTo>
                  <a:lnTo>
                    <a:pt x="996" y="2261"/>
                  </a:lnTo>
                  <a:lnTo>
                    <a:pt x="969" y="2258"/>
                  </a:lnTo>
                  <a:lnTo>
                    <a:pt x="941" y="2253"/>
                  </a:lnTo>
                  <a:lnTo>
                    <a:pt x="914" y="2248"/>
                  </a:lnTo>
                  <a:lnTo>
                    <a:pt x="887" y="2242"/>
                  </a:lnTo>
                  <a:lnTo>
                    <a:pt x="859" y="2236"/>
                  </a:lnTo>
                  <a:lnTo>
                    <a:pt x="833" y="2229"/>
                  </a:lnTo>
                  <a:lnTo>
                    <a:pt x="806" y="2221"/>
                  </a:lnTo>
                  <a:lnTo>
                    <a:pt x="779" y="2213"/>
                  </a:lnTo>
                  <a:lnTo>
                    <a:pt x="753" y="2204"/>
                  </a:lnTo>
                  <a:lnTo>
                    <a:pt x="740" y="2199"/>
                  </a:lnTo>
                  <a:lnTo>
                    <a:pt x="727" y="2194"/>
                  </a:lnTo>
                  <a:lnTo>
                    <a:pt x="701" y="2184"/>
                  </a:lnTo>
                  <a:lnTo>
                    <a:pt x="675" y="2173"/>
                  </a:lnTo>
                  <a:lnTo>
                    <a:pt x="650" y="2161"/>
                  </a:lnTo>
                  <a:lnTo>
                    <a:pt x="625" y="2149"/>
                  </a:lnTo>
                  <a:lnTo>
                    <a:pt x="600" y="2136"/>
                  </a:lnTo>
                  <a:lnTo>
                    <a:pt x="576" y="2123"/>
                  </a:lnTo>
                  <a:lnTo>
                    <a:pt x="551" y="2109"/>
                  </a:lnTo>
                  <a:lnTo>
                    <a:pt x="527" y="2094"/>
                  </a:lnTo>
                  <a:lnTo>
                    <a:pt x="504" y="2079"/>
                  </a:lnTo>
                  <a:lnTo>
                    <a:pt x="481" y="2064"/>
                  </a:lnTo>
                  <a:lnTo>
                    <a:pt x="458" y="2047"/>
                  </a:lnTo>
                  <a:lnTo>
                    <a:pt x="436" y="2030"/>
                  </a:lnTo>
                  <a:lnTo>
                    <a:pt x="415" y="2013"/>
                  </a:lnTo>
                  <a:lnTo>
                    <a:pt x="393" y="1995"/>
                  </a:lnTo>
                  <a:lnTo>
                    <a:pt x="372" y="1977"/>
                  </a:lnTo>
                  <a:lnTo>
                    <a:pt x="362" y="1967"/>
                  </a:lnTo>
                  <a:lnTo>
                    <a:pt x="352" y="1957"/>
                  </a:lnTo>
                  <a:lnTo>
                    <a:pt x="332" y="1938"/>
                  </a:lnTo>
                  <a:lnTo>
                    <a:pt x="313" y="1918"/>
                  </a:lnTo>
                  <a:lnTo>
                    <a:pt x="294" y="1898"/>
                  </a:lnTo>
                  <a:lnTo>
                    <a:pt x="275" y="1877"/>
                  </a:lnTo>
                  <a:lnTo>
                    <a:pt x="257" y="1855"/>
                  </a:lnTo>
                  <a:lnTo>
                    <a:pt x="240" y="1834"/>
                  </a:lnTo>
                  <a:lnTo>
                    <a:pt x="223" y="1812"/>
                  </a:lnTo>
                  <a:lnTo>
                    <a:pt x="207" y="1789"/>
                  </a:lnTo>
                  <a:lnTo>
                    <a:pt x="191" y="1766"/>
                  </a:lnTo>
                  <a:lnTo>
                    <a:pt x="176" y="1743"/>
                  </a:lnTo>
                  <a:lnTo>
                    <a:pt x="162" y="1719"/>
                  </a:lnTo>
                  <a:lnTo>
                    <a:pt x="148" y="1694"/>
                  </a:lnTo>
                  <a:lnTo>
                    <a:pt x="134" y="1670"/>
                  </a:lnTo>
                  <a:lnTo>
                    <a:pt x="121" y="1645"/>
                  </a:lnTo>
                  <a:lnTo>
                    <a:pt x="109" y="1620"/>
                  </a:lnTo>
                  <a:lnTo>
                    <a:pt x="97" y="1595"/>
                  </a:lnTo>
                  <a:lnTo>
                    <a:pt x="86" y="1569"/>
                  </a:lnTo>
                  <a:lnTo>
                    <a:pt x="76" y="1543"/>
                  </a:lnTo>
                  <a:lnTo>
                    <a:pt x="66" y="1517"/>
                  </a:lnTo>
                  <a:lnTo>
                    <a:pt x="57" y="1491"/>
                  </a:lnTo>
                  <a:lnTo>
                    <a:pt x="49" y="1464"/>
                  </a:lnTo>
                  <a:lnTo>
                    <a:pt x="41" y="1438"/>
                  </a:lnTo>
                  <a:lnTo>
                    <a:pt x="34" y="1411"/>
                  </a:lnTo>
                  <a:lnTo>
                    <a:pt x="27" y="1384"/>
                  </a:lnTo>
                  <a:lnTo>
                    <a:pt x="22" y="1356"/>
                  </a:lnTo>
                  <a:lnTo>
                    <a:pt x="16" y="1329"/>
                  </a:lnTo>
                  <a:lnTo>
                    <a:pt x="12" y="1302"/>
                  </a:lnTo>
                  <a:lnTo>
                    <a:pt x="8" y="1274"/>
                  </a:lnTo>
                  <a:lnTo>
                    <a:pt x="5" y="1246"/>
                  </a:lnTo>
                  <a:lnTo>
                    <a:pt x="3" y="1219"/>
                  </a:lnTo>
                  <a:lnTo>
                    <a:pt x="1" y="1191"/>
                  </a:lnTo>
                  <a:lnTo>
                    <a:pt x="0" y="1163"/>
                  </a:lnTo>
                  <a:lnTo>
                    <a:pt x="0" y="1135"/>
                  </a:lnTo>
                  <a:lnTo>
                    <a:pt x="0" y="1107"/>
                  </a:lnTo>
                  <a:lnTo>
                    <a:pt x="1" y="1079"/>
                  </a:lnTo>
                  <a:lnTo>
                    <a:pt x="3" y="1052"/>
                  </a:lnTo>
                  <a:lnTo>
                    <a:pt x="6" y="1024"/>
                  </a:lnTo>
                  <a:lnTo>
                    <a:pt x="9" y="996"/>
                  </a:lnTo>
                  <a:lnTo>
                    <a:pt x="12" y="969"/>
                  </a:lnTo>
                  <a:lnTo>
                    <a:pt x="17" y="941"/>
                  </a:lnTo>
                  <a:lnTo>
                    <a:pt x="22" y="914"/>
                  </a:lnTo>
                  <a:lnTo>
                    <a:pt x="28" y="887"/>
                  </a:lnTo>
                  <a:lnTo>
                    <a:pt x="34" y="860"/>
                  </a:lnTo>
                  <a:lnTo>
                    <a:pt x="41" y="833"/>
                  </a:lnTo>
                  <a:lnTo>
                    <a:pt x="49" y="806"/>
                  </a:lnTo>
                  <a:lnTo>
                    <a:pt x="57" y="779"/>
                  </a:lnTo>
                  <a:lnTo>
                    <a:pt x="66" y="753"/>
                  </a:lnTo>
                  <a:lnTo>
                    <a:pt x="71" y="740"/>
                  </a:lnTo>
                  <a:lnTo>
                    <a:pt x="76" y="727"/>
                  </a:lnTo>
                  <a:lnTo>
                    <a:pt x="86" y="701"/>
                  </a:lnTo>
                  <a:lnTo>
                    <a:pt x="97" y="676"/>
                  </a:lnTo>
                  <a:lnTo>
                    <a:pt x="109" y="650"/>
                  </a:lnTo>
                  <a:lnTo>
                    <a:pt x="121" y="625"/>
                  </a:lnTo>
                  <a:lnTo>
                    <a:pt x="134" y="601"/>
                  </a:lnTo>
                  <a:lnTo>
                    <a:pt x="147" y="576"/>
                  </a:lnTo>
                  <a:lnTo>
                    <a:pt x="161" y="551"/>
                  </a:lnTo>
                  <a:lnTo>
                    <a:pt x="176" y="527"/>
                  </a:lnTo>
                  <a:lnTo>
                    <a:pt x="191" y="504"/>
                  </a:lnTo>
                  <a:lnTo>
                    <a:pt x="207" y="481"/>
                  </a:lnTo>
                  <a:lnTo>
                    <a:pt x="223" y="459"/>
                  </a:lnTo>
                  <a:lnTo>
                    <a:pt x="240" y="436"/>
                  </a:lnTo>
                  <a:lnTo>
                    <a:pt x="257" y="415"/>
                  </a:lnTo>
                  <a:lnTo>
                    <a:pt x="275" y="393"/>
                  </a:lnTo>
                  <a:lnTo>
                    <a:pt x="294" y="373"/>
                  </a:lnTo>
                  <a:lnTo>
                    <a:pt x="303" y="362"/>
                  </a:lnTo>
                  <a:lnTo>
                    <a:pt x="313" y="352"/>
                  </a:lnTo>
                  <a:lnTo>
                    <a:pt x="332" y="332"/>
                  </a:lnTo>
                  <a:lnTo>
                    <a:pt x="352" y="313"/>
                  </a:lnTo>
                  <a:lnTo>
                    <a:pt x="373" y="294"/>
                  </a:lnTo>
                  <a:lnTo>
                    <a:pt x="393" y="275"/>
                  </a:lnTo>
                  <a:lnTo>
                    <a:pt x="415" y="258"/>
                  </a:lnTo>
                  <a:lnTo>
                    <a:pt x="436" y="240"/>
                  </a:lnTo>
                  <a:lnTo>
                    <a:pt x="459" y="223"/>
                  </a:lnTo>
                  <a:lnTo>
                    <a:pt x="481" y="207"/>
                  </a:lnTo>
                  <a:lnTo>
                    <a:pt x="504" y="191"/>
                  </a:lnTo>
                  <a:lnTo>
                    <a:pt x="527" y="176"/>
                  </a:lnTo>
                  <a:lnTo>
                    <a:pt x="551" y="162"/>
                  </a:lnTo>
                  <a:lnTo>
                    <a:pt x="576" y="148"/>
                  </a:lnTo>
                  <a:lnTo>
                    <a:pt x="601" y="134"/>
                  </a:lnTo>
                  <a:lnTo>
                    <a:pt x="625" y="121"/>
                  </a:lnTo>
                  <a:lnTo>
                    <a:pt x="650" y="109"/>
                  </a:lnTo>
                  <a:lnTo>
                    <a:pt x="676" y="98"/>
                  </a:lnTo>
                  <a:lnTo>
                    <a:pt x="701" y="87"/>
                  </a:lnTo>
                  <a:lnTo>
                    <a:pt x="727" y="76"/>
                  </a:lnTo>
                  <a:lnTo>
                    <a:pt x="753" y="66"/>
                  </a:lnTo>
                  <a:lnTo>
                    <a:pt x="779" y="57"/>
                  </a:lnTo>
                  <a:lnTo>
                    <a:pt x="806" y="49"/>
                  </a:lnTo>
                  <a:lnTo>
                    <a:pt x="832" y="41"/>
                  </a:lnTo>
                  <a:lnTo>
                    <a:pt x="859" y="34"/>
                  </a:lnTo>
                  <a:lnTo>
                    <a:pt x="886" y="28"/>
                  </a:lnTo>
                  <a:lnTo>
                    <a:pt x="914" y="22"/>
                  </a:lnTo>
                  <a:lnTo>
                    <a:pt x="941" y="17"/>
                  </a:lnTo>
                  <a:lnTo>
                    <a:pt x="968" y="12"/>
                  </a:lnTo>
                  <a:lnTo>
                    <a:pt x="996" y="8"/>
                  </a:lnTo>
                  <a:lnTo>
                    <a:pt x="1024" y="5"/>
                  </a:lnTo>
                  <a:lnTo>
                    <a:pt x="1051" y="3"/>
                  </a:lnTo>
                  <a:lnTo>
                    <a:pt x="1079" y="1"/>
                  </a:lnTo>
                  <a:lnTo>
                    <a:pt x="1107" y="0"/>
                  </a:lnTo>
                  <a:lnTo>
                    <a:pt x="1135" y="0"/>
                  </a:lnTo>
                  <a:lnTo>
                    <a:pt x="1135" y="795"/>
                  </a:lnTo>
                  <a:lnTo>
                    <a:pt x="1117" y="795"/>
                  </a:lnTo>
                  <a:lnTo>
                    <a:pt x="1100" y="797"/>
                  </a:lnTo>
                  <a:lnTo>
                    <a:pt x="1092" y="798"/>
                  </a:lnTo>
                  <a:lnTo>
                    <a:pt x="1083" y="799"/>
                  </a:lnTo>
                  <a:lnTo>
                    <a:pt x="1075" y="800"/>
                  </a:lnTo>
                  <a:lnTo>
                    <a:pt x="1066" y="802"/>
                  </a:lnTo>
                  <a:lnTo>
                    <a:pt x="1050" y="806"/>
                  </a:lnTo>
                  <a:lnTo>
                    <a:pt x="1034" y="810"/>
                  </a:lnTo>
                  <a:lnTo>
                    <a:pt x="1018" y="816"/>
                  </a:lnTo>
                  <a:lnTo>
                    <a:pt x="1003" y="822"/>
                  </a:lnTo>
                  <a:lnTo>
                    <a:pt x="988" y="829"/>
                  </a:lnTo>
                  <a:lnTo>
                    <a:pt x="973" y="836"/>
                  </a:lnTo>
                  <a:lnTo>
                    <a:pt x="959" y="844"/>
                  </a:lnTo>
                  <a:lnTo>
                    <a:pt x="945" y="853"/>
                  </a:lnTo>
                  <a:lnTo>
                    <a:pt x="931" y="863"/>
                  </a:lnTo>
                  <a:lnTo>
                    <a:pt x="919" y="873"/>
                  </a:lnTo>
                  <a:lnTo>
                    <a:pt x="906" y="883"/>
                  </a:lnTo>
                  <a:lnTo>
                    <a:pt x="894" y="895"/>
                  </a:lnTo>
                  <a:lnTo>
                    <a:pt x="883" y="906"/>
                  </a:lnTo>
                  <a:lnTo>
                    <a:pt x="872" y="919"/>
                  </a:lnTo>
                  <a:lnTo>
                    <a:pt x="862" y="932"/>
                  </a:lnTo>
                  <a:lnTo>
                    <a:pt x="853" y="945"/>
                  </a:lnTo>
                  <a:lnTo>
                    <a:pt x="844" y="959"/>
                  </a:lnTo>
                  <a:lnTo>
                    <a:pt x="836" y="973"/>
                  </a:lnTo>
                  <a:lnTo>
                    <a:pt x="828" y="988"/>
                  </a:lnTo>
                  <a:lnTo>
                    <a:pt x="822" y="1003"/>
                  </a:lnTo>
                  <a:lnTo>
                    <a:pt x="818" y="1010"/>
                  </a:lnTo>
                  <a:lnTo>
                    <a:pt x="815" y="1018"/>
                  </a:lnTo>
                  <a:lnTo>
                    <a:pt x="810" y="1034"/>
                  </a:lnTo>
                  <a:lnTo>
                    <a:pt x="808" y="1042"/>
                  </a:lnTo>
                  <a:lnTo>
                    <a:pt x="806" y="1050"/>
                  </a:lnTo>
                  <a:lnTo>
                    <a:pt x="802" y="1067"/>
                  </a:lnTo>
                  <a:lnTo>
                    <a:pt x="800" y="1075"/>
                  </a:lnTo>
                  <a:lnTo>
                    <a:pt x="799" y="1083"/>
                  </a:lnTo>
                  <a:lnTo>
                    <a:pt x="797" y="1100"/>
                  </a:lnTo>
                  <a:lnTo>
                    <a:pt x="795" y="1118"/>
                  </a:lnTo>
                  <a:lnTo>
                    <a:pt x="795" y="1135"/>
                  </a:lnTo>
                  <a:lnTo>
                    <a:pt x="795" y="1153"/>
                  </a:lnTo>
                  <a:lnTo>
                    <a:pt x="797" y="1170"/>
                  </a:lnTo>
                  <a:lnTo>
                    <a:pt x="798" y="1178"/>
                  </a:lnTo>
                  <a:lnTo>
                    <a:pt x="799" y="1187"/>
                  </a:lnTo>
                  <a:lnTo>
                    <a:pt x="800" y="1195"/>
                  </a:lnTo>
                  <a:lnTo>
                    <a:pt x="802" y="1204"/>
                  </a:lnTo>
                  <a:lnTo>
                    <a:pt x="806" y="1220"/>
                  </a:lnTo>
                  <a:lnTo>
                    <a:pt x="810" y="1236"/>
                  </a:lnTo>
                  <a:lnTo>
                    <a:pt x="815" y="1252"/>
                  </a:lnTo>
                  <a:lnTo>
                    <a:pt x="822" y="1268"/>
                  </a:lnTo>
                  <a:lnTo>
                    <a:pt x="828" y="1283"/>
                  </a:lnTo>
                  <a:lnTo>
                    <a:pt x="836" y="1297"/>
                  </a:lnTo>
                  <a:lnTo>
                    <a:pt x="844" y="1312"/>
                  </a:lnTo>
                  <a:lnTo>
                    <a:pt x="853" y="1325"/>
                  </a:lnTo>
                  <a:lnTo>
                    <a:pt x="862" y="1339"/>
                  </a:lnTo>
                  <a:lnTo>
                    <a:pt x="872" y="1351"/>
                  </a:lnTo>
                  <a:lnTo>
                    <a:pt x="883" y="1364"/>
                  </a:lnTo>
                  <a:lnTo>
                    <a:pt x="894" y="1376"/>
                  </a:lnTo>
                  <a:lnTo>
                    <a:pt x="906" y="1387"/>
                  </a:lnTo>
                  <a:lnTo>
                    <a:pt x="919" y="1398"/>
                  </a:lnTo>
                  <a:lnTo>
                    <a:pt x="931" y="1408"/>
                  </a:lnTo>
                  <a:lnTo>
                    <a:pt x="945" y="1417"/>
                  </a:lnTo>
                  <a:lnTo>
                    <a:pt x="959" y="1426"/>
                  </a:lnTo>
                  <a:lnTo>
                    <a:pt x="973" y="1434"/>
                  </a:lnTo>
                  <a:lnTo>
                    <a:pt x="988" y="1442"/>
                  </a:lnTo>
                  <a:lnTo>
                    <a:pt x="1003" y="1449"/>
                  </a:lnTo>
                  <a:lnTo>
                    <a:pt x="1010" y="1452"/>
                  </a:lnTo>
                  <a:lnTo>
                    <a:pt x="1018" y="1455"/>
                  </a:lnTo>
                  <a:lnTo>
                    <a:pt x="1034" y="1460"/>
                  </a:lnTo>
                  <a:lnTo>
                    <a:pt x="1042" y="1462"/>
                  </a:lnTo>
                  <a:lnTo>
                    <a:pt x="1050" y="1465"/>
                  </a:lnTo>
                  <a:lnTo>
                    <a:pt x="1066" y="1468"/>
                  </a:lnTo>
                  <a:lnTo>
                    <a:pt x="1075" y="1470"/>
                  </a:lnTo>
                  <a:lnTo>
                    <a:pt x="1083" y="1471"/>
                  </a:lnTo>
                  <a:lnTo>
                    <a:pt x="1100" y="1474"/>
                  </a:lnTo>
                  <a:lnTo>
                    <a:pt x="1117" y="1475"/>
                  </a:lnTo>
                  <a:lnTo>
                    <a:pt x="1135" y="1475"/>
                  </a:lnTo>
                  <a:close/>
                </a:path>
              </a:pathLst>
            </a:custGeom>
            <a:solidFill>
              <a:srgbClr val="FF952E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49" name="Text Box 85"/>
            <p:cNvSpPr txBox="1">
              <a:spLocks noChangeArrowheads="1"/>
            </p:cNvSpPr>
            <p:nvPr/>
          </p:nvSpPr>
          <p:spPr bwMode="auto">
            <a:xfrm>
              <a:off x="582613" y="2432075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36950" name="Text Box 86"/>
            <p:cNvSpPr txBox="1">
              <a:spLocks noChangeArrowheads="1"/>
            </p:cNvSpPr>
            <p:nvPr/>
          </p:nvSpPr>
          <p:spPr bwMode="auto">
            <a:xfrm>
              <a:off x="1514475" y="2432075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083015" y="1540137"/>
            <a:ext cx="2015596" cy="1949213"/>
            <a:chOff x="4740275" y="1628800"/>
            <a:chExt cx="1860550" cy="1860550"/>
          </a:xfrm>
        </p:grpSpPr>
        <p:sp>
          <p:nvSpPr>
            <p:cNvPr id="36952" name="Freeform 88"/>
            <p:cNvSpPr>
              <a:spLocks noChangeAspect="1"/>
            </p:cNvSpPr>
            <p:nvPr/>
          </p:nvSpPr>
          <p:spPr bwMode="auto">
            <a:xfrm>
              <a:off x="5670550" y="1628800"/>
              <a:ext cx="930275" cy="9302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6" y="2"/>
                </a:cxn>
                <a:cxn ang="0">
                  <a:pos x="111" y="6"/>
                </a:cxn>
                <a:cxn ang="0">
                  <a:pos x="167" y="12"/>
                </a:cxn>
                <a:cxn ang="0">
                  <a:pos x="221" y="22"/>
                </a:cxn>
                <a:cxn ang="0">
                  <a:pos x="276" y="34"/>
                </a:cxn>
                <a:cxn ang="0">
                  <a:pos x="329" y="49"/>
                </a:cxn>
                <a:cxn ang="0">
                  <a:pos x="382" y="67"/>
                </a:cxn>
                <a:cxn ang="0">
                  <a:pos x="408" y="76"/>
                </a:cxn>
                <a:cxn ang="0">
                  <a:pos x="460" y="97"/>
                </a:cxn>
                <a:cxn ang="0">
                  <a:pos x="510" y="121"/>
                </a:cxn>
                <a:cxn ang="0">
                  <a:pos x="559" y="147"/>
                </a:cxn>
                <a:cxn ang="0">
                  <a:pos x="608" y="176"/>
                </a:cxn>
                <a:cxn ang="0">
                  <a:pos x="654" y="207"/>
                </a:cxn>
                <a:cxn ang="0">
                  <a:pos x="699" y="240"/>
                </a:cxn>
                <a:cxn ang="0">
                  <a:pos x="742" y="275"/>
                </a:cxn>
                <a:cxn ang="0">
                  <a:pos x="773" y="303"/>
                </a:cxn>
                <a:cxn ang="0">
                  <a:pos x="803" y="332"/>
                </a:cxn>
                <a:cxn ang="0">
                  <a:pos x="841" y="373"/>
                </a:cxn>
                <a:cxn ang="0">
                  <a:pos x="878" y="415"/>
                </a:cxn>
                <a:cxn ang="0">
                  <a:pos x="912" y="459"/>
                </a:cxn>
                <a:cxn ang="0">
                  <a:pos x="944" y="504"/>
                </a:cxn>
                <a:cxn ang="0">
                  <a:pos x="974" y="551"/>
                </a:cxn>
                <a:cxn ang="0">
                  <a:pos x="1001" y="601"/>
                </a:cxn>
                <a:cxn ang="0">
                  <a:pos x="1026" y="650"/>
                </a:cxn>
                <a:cxn ang="0">
                  <a:pos x="1049" y="701"/>
                </a:cxn>
                <a:cxn ang="0">
                  <a:pos x="1069" y="753"/>
                </a:cxn>
                <a:cxn ang="0">
                  <a:pos x="1086" y="806"/>
                </a:cxn>
                <a:cxn ang="0">
                  <a:pos x="1101" y="859"/>
                </a:cxn>
                <a:cxn ang="0">
                  <a:pos x="1114" y="914"/>
                </a:cxn>
                <a:cxn ang="0">
                  <a:pos x="1123" y="969"/>
                </a:cxn>
                <a:cxn ang="0">
                  <a:pos x="1130" y="1024"/>
                </a:cxn>
                <a:cxn ang="0">
                  <a:pos x="1134" y="1079"/>
                </a:cxn>
                <a:cxn ang="0">
                  <a:pos x="1135" y="1135"/>
                </a:cxn>
                <a:cxn ang="0">
                  <a:pos x="340" y="1118"/>
                </a:cxn>
                <a:cxn ang="0">
                  <a:pos x="338" y="1092"/>
                </a:cxn>
                <a:cxn ang="0">
                  <a:pos x="335" y="1075"/>
                </a:cxn>
                <a:cxn ang="0">
                  <a:pos x="330" y="1050"/>
                </a:cxn>
                <a:cxn ang="0">
                  <a:pos x="320" y="1018"/>
                </a:cxn>
                <a:cxn ang="0">
                  <a:pos x="307" y="988"/>
                </a:cxn>
                <a:cxn ang="0">
                  <a:pos x="291" y="959"/>
                </a:cxn>
                <a:cxn ang="0">
                  <a:pos x="273" y="932"/>
                </a:cxn>
                <a:cxn ang="0">
                  <a:pos x="252" y="906"/>
                </a:cxn>
                <a:cxn ang="0">
                  <a:pos x="229" y="883"/>
                </a:cxn>
                <a:cxn ang="0">
                  <a:pos x="204" y="863"/>
                </a:cxn>
                <a:cxn ang="0">
                  <a:pos x="177" y="844"/>
                </a:cxn>
                <a:cxn ang="0">
                  <a:pos x="148" y="828"/>
                </a:cxn>
                <a:cxn ang="0">
                  <a:pos x="125" y="819"/>
                </a:cxn>
                <a:cxn ang="0">
                  <a:pos x="101" y="810"/>
                </a:cxn>
                <a:cxn ang="0">
                  <a:pos x="85" y="806"/>
                </a:cxn>
                <a:cxn ang="0">
                  <a:pos x="60" y="800"/>
                </a:cxn>
                <a:cxn ang="0">
                  <a:pos x="35" y="797"/>
                </a:cxn>
                <a:cxn ang="0">
                  <a:pos x="0" y="795"/>
                </a:cxn>
              </a:cxnLst>
              <a:rect l="0" t="0" r="r" b="b"/>
              <a:pathLst>
                <a:path w="1135" h="1135">
                  <a:moveTo>
                    <a:pt x="0" y="795"/>
                  </a:moveTo>
                  <a:lnTo>
                    <a:pt x="0" y="0"/>
                  </a:lnTo>
                  <a:lnTo>
                    <a:pt x="28" y="1"/>
                  </a:lnTo>
                  <a:lnTo>
                    <a:pt x="56" y="2"/>
                  </a:lnTo>
                  <a:lnTo>
                    <a:pt x="84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7" y="12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9" y="28"/>
                  </a:lnTo>
                  <a:lnTo>
                    <a:pt x="276" y="34"/>
                  </a:lnTo>
                  <a:lnTo>
                    <a:pt x="303" y="41"/>
                  </a:lnTo>
                  <a:lnTo>
                    <a:pt x="329" y="49"/>
                  </a:lnTo>
                  <a:lnTo>
                    <a:pt x="356" y="58"/>
                  </a:lnTo>
                  <a:lnTo>
                    <a:pt x="382" y="67"/>
                  </a:lnTo>
                  <a:lnTo>
                    <a:pt x="395" y="71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60" y="97"/>
                  </a:lnTo>
                  <a:lnTo>
                    <a:pt x="485" y="109"/>
                  </a:lnTo>
                  <a:lnTo>
                    <a:pt x="510" y="121"/>
                  </a:lnTo>
                  <a:lnTo>
                    <a:pt x="535" y="134"/>
                  </a:lnTo>
                  <a:lnTo>
                    <a:pt x="559" y="147"/>
                  </a:lnTo>
                  <a:lnTo>
                    <a:pt x="584" y="161"/>
                  </a:lnTo>
                  <a:lnTo>
                    <a:pt x="608" y="176"/>
                  </a:lnTo>
                  <a:lnTo>
                    <a:pt x="631" y="191"/>
                  </a:lnTo>
                  <a:lnTo>
                    <a:pt x="654" y="207"/>
                  </a:lnTo>
                  <a:lnTo>
                    <a:pt x="677" y="223"/>
                  </a:lnTo>
                  <a:lnTo>
                    <a:pt x="699" y="240"/>
                  </a:lnTo>
                  <a:lnTo>
                    <a:pt x="721" y="257"/>
                  </a:lnTo>
                  <a:lnTo>
                    <a:pt x="742" y="275"/>
                  </a:lnTo>
                  <a:lnTo>
                    <a:pt x="763" y="294"/>
                  </a:lnTo>
                  <a:lnTo>
                    <a:pt x="773" y="303"/>
                  </a:lnTo>
                  <a:lnTo>
                    <a:pt x="783" y="313"/>
                  </a:lnTo>
                  <a:lnTo>
                    <a:pt x="803" y="332"/>
                  </a:lnTo>
                  <a:lnTo>
                    <a:pt x="822" y="352"/>
                  </a:lnTo>
                  <a:lnTo>
                    <a:pt x="841" y="373"/>
                  </a:lnTo>
                  <a:lnTo>
                    <a:pt x="860" y="393"/>
                  </a:lnTo>
                  <a:lnTo>
                    <a:pt x="878" y="415"/>
                  </a:lnTo>
                  <a:lnTo>
                    <a:pt x="895" y="436"/>
                  </a:lnTo>
                  <a:lnTo>
                    <a:pt x="912" y="459"/>
                  </a:lnTo>
                  <a:lnTo>
                    <a:pt x="928" y="481"/>
                  </a:lnTo>
                  <a:lnTo>
                    <a:pt x="944" y="504"/>
                  </a:lnTo>
                  <a:lnTo>
                    <a:pt x="959" y="528"/>
                  </a:lnTo>
                  <a:lnTo>
                    <a:pt x="974" y="551"/>
                  </a:lnTo>
                  <a:lnTo>
                    <a:pt x="988" y="576"/>
                  </a:lnTo>
                  <a:lnTo>
                    <a:pt x="1001" y="601"/>
                  </a:lnTo>
                  <a:lnTo>
                    <a:pt x="1014" y="625"/>
                  </a:lnTo>
                  <a:lnTo>
                    <a:pt x="1026" y="650"/>
                  </a:lnTo>
                  <a:lnTo>
                    <a:pt x="1038" y="676"/>
                  </a:lnTo>
                  <a:lnTo>
                    <a:pt x="1049" y="701"/>
                  </a:lnTo>
                  <a:lnTo>
                    <a:pt x="1059" y="727"/>
                  </a:lnTo>
                  <a:lnTo>
                    <a:pt x="1069" y="753"/>
                  </a:lnTo>
                  <a:lnTo>
                    <a:pt x="1078" y="779"/>
                  </a:lnTo>
                  <a:lnTo>
                    <a:pt x="1086" y="806"/>
                  </a:lnTo>
                  <a:lnTo>
                    <a:pt x="1094" y="833"/>
                  </a:lnTo>
                  <a:lnTo>
                    <a:pt x="1101" y="859"/>
                  </a:lnTo>
                  <a:lnTo>
                    <a:pt x="1108" y="887"/>
                  </a:lnTo>
                  <a:lnTo>
                    <a:pt x="1114" y="914"/>
                  </a:lnTo>
                  <a:lnTo>
                    <a:pt x="1119" y="941"/>
                  </a:lnTo>
                  <a:lnTo>
                    <a:pt x="1123" y="969"/>
                  </a:lnTo>
                  <a:lnTo>
                    <a:pt x="1127" y="996"/>
                  </a:lnTo>
                  <a:lnTo>
                    <a:pt x="1130" y="1024"/>
                  </a:lnTo>
                  <a:lnTo>
                    <a:pt x="1132" y="1052"/>
                  </a:lnTo>
                  <a:lnTo>
                    <a:pt x="1134" y="1079"/>
                  </a:lnTo>
                  <a:lnTo>
                    <a:pt x="1135" y="1107"/>
                  </a:lnTo>
                  <a:lnTo>
                    <a:pt x="1135" y="1135"/>
                  </a:lnTo>
                  <a:lnTo>
                    <a:pt x="340" y="1135"/>
                  </a:lnTo>
                  <a:lnTo>
                    <a:pt x="340" y="1118"/>
                  </a:lnTo>
                  <a:lnTo>
                    <a:pt x="339" y="1100"/>
                  </a:lnTo>
                  <a:lnTo>
                    <a:pt x="338" y="1092"/>
                  </a:lnTo>
                  <a:lnTo>
                    <a:pt x="336" y="1083"/>
                  </a:lnTo>
                  <a:lnTo>
                    <a:pt x="335" y="1075"/>
                  </a:lnTo>
                  <a:lnTo>
                    <a:pt x="333" y="1067"/>
                  </a:lnTo>
                  <a:lnTo>
                    <a:pt x="330" y="1050"/>
                  </a:lnTo>
                  <a:lnTo>
                    <a:pt x="325" y="1034"/>
                  </a:lnTo>
                  <a:lnTo>
                    <a:pt x="320" y="1018"/>
                  </a:lnTo>
                  <a:lnTo>
                    <a:pt x="314" y="1003"/>
                  </a:lnTo>
                  <a:lnTo>
                    <a:pt x="307" y="988"/>
                  </a:lnTo>
                  <a:lnTo>
                    <a:pt x="299" y="973"/>
                  </a:lnTo>
                  <a:lnTo>
                    <a:pt x="291" y="959"/>
                  </a:lnTo>
                  <a:lnTo>
                    <a:pt x="282" y="945"/>
                  </a:lnTo>
                  <a:lnTo>
                    <a:pt x="273" y="932"/>
                  </a:lnTo>
                  <a:lnTo>
                    <a:pt x="263" y="919"/>
                  </a:lnTo>
                  <a:lnTo>
                    <a:pt x="252" y="906"/>
                  </a:lnTo>
                  <a:lnTo>
                    <a:pt x="241" y="895"/>
                  </a:lnTo>
                  <a:lnTo>
                    <a:pt x="229" y="883"/>
                  </a:lnTo>
                  <a:lnTo>
                    <a:pt x="217" y="873"/>
                  </a:lnTo>
                  <a:lnTo>
                    <a:pt x="204" y="863"/>
                  </a:lnTo>
                  <a:lnTo>
                    <a:pt x="190" y="853"/>
                  </a:lnTo>
                  <a:lnTo>
                    <a:pt x="177" y="844"/>
                  </a:lnTo>
                  <a:lnTo>
                    <a:pt x="162" y="836"/>
                  </a:lnTo>
                  <a:lnTo>
                    <a:pt x="148" y="828"/>
                  </a:lnTo>
                  <a:lnTo>
                    <a:pt x="133" y="822"/>
                  </a:lnTo>
                  <a:lnTo>
                    <a:pt x="125" y="819"/>
                  </a:lnTo>
                  <a:lnTo>
                    <a:pt x="117" y="816"/>
                  </a:lnTo>
                  <a:lnTo>
                    <a:pt x="101" y="810"/>
                  </a:lnTo>
                  <a:lnTo>
                    <a:pt x="93" y="808"/>
                  </a:lnTo>
                  <a:lnTo>
                    <a:pt x="85" y="806"/>
                  </a:lnTo>
                  <a:lnTo>
                    <a:pt x="69" y="802"/>
                  </a:lnTo>
                  <a:lnTo>
                    <a:pt x="60" y="800"/>
                  </a:lnTo>
                  <a:lnTo>
                    <a:pt x="52" y="799"/>
                  </a:lnTo>
                  <a:lnTo>
                    <a:pt x="35" y="797"/>
                  </a:lnTo>
                  <a:lnTo>
                    <a:pt x="18" y="795"/>
                  </a:lnTo>
                  <a:lnTo>
                    <a:pt x="0" y="795"/>
                  </a:lnTo>
                  <a:close/>
                </a:path>
              </a:pathLst>
            </a:custGeom>
            <a:solidFill>
              <a:srgbClr val="FF6600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53" name="Freeform 89"/>
            <p:cNvSpPr>
              <a:spLocks noChangeAspect="1"/>
            </p:cNvSpPr>
            <p:nvPr/>
          </p:nvSpPr>
          <p:spPr bwMode="auto">
            <a:xfrm>
              <a:off x="5670550" y="2559075"/>
              <a:ext cx="930275" cy="930275"/>
            </a:xfrm>
            <a:custGeom>
              <a:avLst/>
              <a:gdLst/>
              <a:ahLst/>
              <a:cxnLst>
                <a:cxn ang="0">
                  <a:pos x="1135" y="0"/>
                </a:cxn>
                <a:cxn ang="0">
                  <a:pos x="1134" y="56"/>
                </a:cxn>
                <a:cxn ang="0">
                  <a:pos x="1130" y="111"/>
                </a:cxn>
                <a:cxn ang="0">
                  <a:pos x="1123" y="166"/>
                </a:cxn>
                <a:cxn ang="0">
                  <a:pos x="1113" y="221"/>
                </a:cxn>
                <a:cxn ang="0">
                  <a:pos x="1101" y="276"/>
                </a:cxn>
                <a:cxn ang="0">
                  <a:pos x="1086" y="329"/>
                </a:cxn>
                <a:cxn ang="0">
                  <a:pos x="1069" y="382"/>
                </a:cxn>
                <a:cxn ang="0">
                  <a:pos x="1059" y="408"/>
                </a:cxn>
                <a:cxn ang="0">
                  <a:pos x="1038" y="460"/>
                </a:cxn>
                <a:cxn ang="0">
                  <a:pos x="1014" y="510"/>
                </a:cxn>
                <a:cxn ang="0">
                  <a:pos x="988" y="559"/>
                </a:cxn>
                <a:cxn ang="0">
                  <a:pos x="960" y="608"/>
                </a:cxn>
                <a:cxn ang="0">
                  <a:pos x="929" y="654"/>
                </a:cxn>
                <a:cxn ang="0">
                  <a:pos x="896" y="699"/>
                </a:cxn>
                <a:cxn ang="0">
                  <a:pos x="860" y="742"/>
                </a:cxn>
                <a:cxn ang="0">
                  <a:pos x="832" y="773"/>
                </a:cxn>
                <a:cxn ang="0">
                  <a:pos x="803" y="803"/>
                </a:cxn>
                <a:cxn ang="0">
                  <a:pos x="763" y="841"/>
                </a:cxn>
                <a:cxn ang="0">
                  <a:pos x="721" y="878"/>
                </a:cxn>
                <a:cxn ang="0">
                  <a:pos x="677" y="912"/>
                </a:cxn>
                <a:cxn ang="0">
                  <a:pos x="631" y="944"/>
                </a:cxn>
                <a:cxn ang="0">
                  <a:pos x="584" y="974"/>
                </a:cxn>
                <a:cxn ang="0">
                  <a:pos x="535" y="1001"/>
                </a:cxn>
                <a:cxn ang="0">
                  <a:pos x="485" y="1026"/>
                </a:cxn>
                <a:cxn ang="0">
                  <a:pos x="434" y="1049"/>
                </a:cxn>
                <a:cxn ang="0">
                  <a:pos x="382" y="1069"/>
                </a:cxn>
                <a:cxn ang="0">
                  <a:pos x="329" y="1086"/>
                </a:cxn>
                <a:cxn ang="0">
                  <a:pos x="276" y="1101"/>
                </a:cxn>
                <a:cxn ang="0">
                  <a:pos x="222" y="1114"/>
                </a:cxn>
                <a:cxn ang="0">
                  <a:pos x="167" y="1123"/>
                </a:cxn>
                <a:cxn ang="0">
                  <a:pos x="112" y="1130"/>
                </a:cxn>
                <a:cxn ang="0">
                  <a:pos x="56" y="1134"/>
                </a:cxn>
                <a:cxn ang="0">
                  <a:pos x="0" y="1135"/>
                </a:cxn>
                <a:cxn ang="0">
                  <a:pos x="18" y="340"/>
                </a:cxn>
                <a:cxn ang="0">
                  <a:pos x="44" y="338"/>
                </a:cxn>
                <a:cxn ang="0">
                  <a:pos x="60" y="335"/>
                </a:cxn>
                <a:cxn ang="0">
                  <a:pos x="85" y="330"/>
                </a:cxn>
                <a:cxn ang="0">
                  <a:pos x="117" y="320"/>
                </a:cxn>
                <a:cxn ang="0">
                  <a:pos x="148" y="307"/>
                </a:cxn>
                <a:cxn ang="0">
                  <a:pos x="177" y="291"/>
                </a:cxn>
                <a:cxn ang="0">
                  <a:pos x="204" y="273"/>
                </a:cxn>
                <a:cxn ang="0">
                  <a:pos x="229" y="252"/>
                </a:cxn>
                <a:cxn ang="0">
                  <a:pos x="252" y="229"/>
                </a:cxn>
                <a:cxn ang="0">
                  <a:pos x="273" y="204"/>
                </a:cxn>
                <a:cxn ang="0">
                  <a:pos x="291" y="176"/>
                </a:cxn>
                <a:cxn ang="0">
                  <a:pos x="307" y="148"/>
                </a:cxn>
                <a:cxn ang="0">
                  <a:pos x="317" y="125"/>
                </a:cxn>
                <a:cxn ang="0">
                  <a:pos x="325" y="101"/>
                </a:cxn>
                <a:cxn ang="0">
                  <a:pos x="330" y="85"/>
                </a:cxn>
                <a:cxn ang="0">
                  <a:pos x="335" y="60"/>
                </a:cxn>
                <a:cxn ang="0">
                  <a:pos x="339" y="35"/>
                </a:cxn>
                <a:cxn ang="0">
                  <a:pos x="340" y="0"/>
                </a:cxn>
              </a:cxnLst>
              <a:rect l="0" t="0" r="r" b="b"/>
              <a:pathLst>
                <a:path w="1135" h="1135">
                  <a:moveTo>
                    <a:pt x="340" y="0"/>
                  </a:moveTo>
                  <a:lnTo>
                    <a:pt x="1135" y="0"/>
                  </a:lnTo>
                  <a:lnTo>
                    <a:pt x="1135" y="28"/>
                  </a:lnTo>
                  <a:lnTo>
                    <a:pt x="1134" y="56"/>
                  </a:lnTo>
                  <a:lnTo>
                    <a:pt x="1132" y="84"/>
                  </a:lnTo>
                  <a:lnTo>
                    <a:pt x="1130" y="111"/>
                  </a:lnTo>
                  <a:lnTo>
                    <a:pt x="1127" y="139"/>
                  </a:lnTo>
                  <a:lnTo>
                    <a:pt x="1123" y="166"/>
                  </a:lnTo>
                  <a:lnTo>
                    <a:pt x="1118" y="194"/>
                  </a:lnTo>
                  <a:lnTo>
                    <a:pt x="1113" y="221"/>
                  </a:lnTo>
                  <a:lnTo>
                    <a:pt x="1108" y="249"/>
                  </a:lnTo>
                  <a:lnTo>
                    <a:pt x="1101" y="276"/>
                  </a:lnTo>
                  <a:lnTo>
                    <a:pt x="1094" y="302"/>
                  </a:lnTo>
                  <a:lnTo>
                    <a:pt x="1086" y="329"/>
                  </a:lnTo>
                  <a:lnTo>
                    <a:pt x="1078" y="356"/>
                  </a:lnTo>
                  <a:lnTo>
                    <a:pt x="1069" y="382"/>
                  </a:lnTo>
                  <a:lnTo>
                    <a:pt x="1064" y="395"/>
                  </a:lnTo>
                  <a:lnTo>
                    <a:pt x="1059" y="408"/>
                  </a:lnTo>
                  <a:lnTo>
                    <a:pt x="1049" y="434"/>
                  </a:lnTo>
                  <a:lnTo>
                    <a:pt x="1038" y="460"/>
                  </a:lnTo>
                  <a:lnTo>
                    <a:pt x="1026" y="485"/>
                  </a:lnTo>
                  <a:lnTo>
                    <a:pt x="1014" y="510"/>
                  </a:lnTo>
                  <a:lnTo>
                    <a:pt x="1001" y="535"/>
                  </a:lnTo>
                  <a:lnTo>
                    <a:pt x="988" y="559"/>
                  </a:lnTo>
                  <a:lnTo>
                    <a:pt x="974" y="584"/>
                  </a:lnTo>
                  <a:lnTo>
                    <a:pt x="960" y="608"/>
                  </a:lnTo>
                  <a:lnTo>
                    <a:pt x="944" y="631"/>
                  </a:lnTo>
                  <a:lnTo>
                    <a:pt x="929" y="654"/>
                  </a:lnTo>
                  <a:lnTo>
                    <a:pt x="912" y="677"/>
                  </a:lnTo>
                  <a:lnTo>
                    <a:pt x="896" y="699"/>
                  </a:lnTo>
                  <a:lnTo>
                    <a:pt x="878" y="721"/>
                  </a:lnTo>
                  <a:lnTo>
                    <a:pt x="860" y="742"/>
                  </a:lnTo>
                  <a:lnTo>
                    <a:pt x="842" y="763"/>
                  </a:lnTo>
                  <a:lnTo>
                    <a:pt x="832" y="773"/>
                  </a:lnTo>
                  <a:lnTo>
                    <a:pt x="823" y="783"/>
                  </a:lnTo>
                  <a:lnTo>
                    <a:pt x="803" y="803"/>
                  </a:lnTo>
                  <a:lnTo>
                    <a:pt x="783" y="822"/>
                  </a:lnTo>
                  <a:lnTo>
                    <a:pt x="763" y="841"/>
                  </a:lnTo>
                  <a:lnTo>
                    <a:pt x="742" y="860"/>
                  </a:lnTo>
                  <a:lnTo>
                    <a:pt x="721" y="878"/>
                  </a:lnTo>
                  <a:lnTo>
                    <a:pt x="699" y="895"/>
                  </a:lnTo>
                  <a:lnTo>
                    <a:pt x="677" y="912"/>
                  </a:lnTo>
                  <a:lnTo>
                    <a:pt x="654" y="928"/>
                  </a:lnTo>
                  <a:lnTo>
                    <a:pt x="631" y="944"/>
                  </a:lnTo>
                  <a:lnTo>
                    <a:pt x="608" y="959"/>
                  </a:lnTo>
                  <a:lnTo>
                    <a:pt x="584" y="974"/>
                  </a:lnTo>
                  <a:lnTo>
                    <a:pt x="559" y="988"/>
                  </a:lnTo>
                  <a:lnTo>
                    <a:pt x="535" y="1001"/>
                  </a:lnTo>
                  <a:lnTo>
                    <a:pt x="510" y="1014"/>
                  </a:lnTo>
                  <a:lnTo>
                    <a:pt x="485" y="1026"/>
                  </a:lnTo>
                  <a:lnTo>
                    <a:pt x="460" y="1038"/>
                  </a:lnTo>
                  <a:lnTo>
                    <a:pt x="434" y="1049"/>
                  </a:lnTo>
                  <a:lnTo>
                    <a:pt x="408" y="1059"/>
                  </a:lnTo>
                  <a:lnTo>
                    <a:pt x="382" y="1069"/>
                  </a:lnTo>
                  <a:lnTo>
                    <a:pt x="356" y="1078"/>
                  </a:lnTo>
                  <a:lnTo>
                    <a:pt x="329" y="1086"/>
                  </a:lnTo>
                  <a:lnTo>
                    <a:pt x="303" y="1094"/>
                  </a:lnTo>
                  <a:lnTo>
                    <a:pt x="276" y="1101"/>
                  </a:lnTo>
                  <a:lnTo>
                    <a:pt x="249" y="1108"/>
                  </a:lnTo>
                  <a:lnTo>
                    <a:pt x="222" y="1114"/>
                  </a:lnTo>
                  <a:lnTo>
                    <a:pt x="194" y="1119"/>
                  </a:lnTo>
                  <a:lnTo>
                    <a:pt x="167" y="1123"/>
                  </a:lnTo>
                  <a:lnTo>
                    <a:pt x="139" y="1127"/>
                  </a:lnTo>
                  <a:lnTo>
                    <a:pt x="112" y="1130"/>
                  </a:lnTo>
                  <a:lnTo>
                    <a:pt x="84" y="1132"/>
                  </a:lnTo>
                  <a:lnTo>
                    <a:pt x="56" y="1134"/>
                  </a:lnTo>
                  <a:lnTo>
                    <a:pt x="28" y="1135"/>
                  </a:lnTo>
                  <a:lnTo>
                    <a:pt x="0" y="1135"/>
                  </a:lnTo>
                  <a:lnTo>
                    <a:pt x="0" y="340"/>
                  </a:lnTo>
                  <a:lnTo>
                    <a:pt x="18" y="340"/>
                  </a:lnTo>
                  <a:lnTo>
                    <a:pt x="35" y="339"/>
                  </a:lnTo>
                  <a:lnTo>
                    <a:pt x="44" y="338"/>
                  </a:lnTo>
                  <a:lnTo>
                    <a:pt x="52" y="336"/>
                  </a:lnTo>
                  <a:lnTo>
                    <a:pt x="60" y="335"/>
                  </a:lnTo>
                  <a:lnTo>
                    <a:pt x="69" y="333"/>
                  </a:lnTo>
                  <a:lnTo>
                    <a:pt x="85" y="330"/>
                  </a:lnTo>
                  <a:lnTo>
                    <a:pt x="101" y="325"/>
                  </a:lnTo>
                  <a:lnTo>
                    <a:pt x="117" y="320"/>
                  </a:lnTo>
                  <a:lnTo>
                    <a:pt x="133" y="314"/>
                  </a:lnTo>
                  <a:lnTo>
                    <a:pt x="148" y="307"/>
                  </a:lnTo>
                  <a:lnTo>
                    <a:pt x="162" y="299"/>
                  </a:lnTo>
                  <a:lnTo>
                    <a:pt x="177" y="291"/>
                  </a:lnTo>
                  <a:lnTo>
                    <a:pt x="190" y="282"/>
                  </a:lnTo>
                  <a:lnTo>
                    <a:pt x="204" y="273"/>
                  </a:lnTo>
                  <a:lnTo>
                    <a:pt x="217" y="263"/>
                  </a:lnTo>
                  <a:lnTo>
                    <a:pt x="229" y="252"/>
                  </a:lnTo>
                  <a:lnTo>
                    <a:pt x="241" y="241"/>
                  </a:lnTo>
                  <a:lnTo>
                    <a:pt x="252" y="229"/>
                  </a:lnTo>
                  <a:lnTo>
                    <a:pt x="263" y="216"/>
                  </a:lnTo>
                  <a:lnTo>
                    <a:pt x="273" y="204"/>
                  </a:lnTo>
                  <a:lnTo>
                    <a:pt x="282" y="190"/>
                  </a:lnTo>
                  <a:lnTo>
                    <a:pt x="291" y="176"/>
                  </a:lnTo>
                  <a:lnTo>
                    <a:pt x="299" y="162"/>
                  </a:lnTo>
                  <a:lnTo>
                    <a:pt x="307" y="148"/>
                  </a:lnTo>
                  <a:lnTo>
                    <a:pt x="314" y="133"/>
                  </a:lnTo>
                  <a:lnTo>
                    <a:pt x="317" y="125"/>
                  </a:lnTo>
                  <a:lnTo>
                    <a:pt x="320" y="117"/>
                  </a:lnTo>
                  <a:lnTo>
                    <a:pt x="325" y="101"/>
                  </a:lnTo>
                  <a:lnTo>
                    <a:pt x="328" y="93"/>
                  </a:lnTo>
                  <a:lnTo>
                    <a:pt x="330" y="85"/>
                  </a:lnTo>
                  <a:lnTo>
                    <a:pt x="333" y="69"/>
                  </a:lnTo>
                  <a:lnTo>
                    <a:pt x="335" y="60"/>
                  </a:lnTo>
                  <a:lnTo>
                    <a:pt x="336" y="52"/>
                  </a:lnTo>
                  <a:lnTo>
                    <a:pt x="339" y="35"/>
                  </a:lnTo>
                  <a:lnTo>
                    <a:pt x="340" y="18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7F7F7F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54" name="Freeform 90"/>
            <p:cNvSpPr>
              <a:spLocks noChangeAspect="1"/>
            </p:cNvSpPr>
            <p:nvPr/>
          </p:nvSpPr>
          <p:spPr bwMode="auto">
            <a:xfrm>
              <a:off x="4740275" y="2559075"/>
              <a:ext cx="930275" cy="930275"/>
            </a:xfrm>
            <a:custGeom>
              <a:avLst/>
              <a:gdLst/>
              <a:ahLst/>
              <a:cxnLst>
                <a:cxn ang="0">
                  <a:pos x="1135" y="1135"/>
                </a:cxn>
                <a:cxn ang="0">
                  <a:pos x="1080" y="1134"/>
                </a:cxn>
                <a:cxn ang="0">
                  <a:pos x="1024" y="1130"/>
                </a:cxn>
                <a:cxn ang="0">
                  <a:pos x="969" y="1123"/>
                </a:cxn>
                <a:cxn ang="0">
                  <a:pos x="914" y="1113"/>
                </a:cxn>
                <a:cxn ang="0">
                  <a:pos x="860" y="1101"/>
                </a:cxn>
                <a:cxn ang="0">
                  <a:pos x="806" y="1086"/>
                </a:cxn>
                <a:cxn ang="0">
                  <a:pos x="753" y="1069"/>
                </a:cxn>
                <a:cxn ang="0">
                  <a:pos x="727" y="1059"/>
                </a:cxn>
                <a:cxn ang="0">
                  <a:pos x="676" y="1038"/>
                </a:cxn>
                <a:cxn ang="0">
                  <a:pos x="625" y="1014"/>
                </a:cxn>
                <a:cxn ang="0">
                  <a:pos x="576" y="988"/>
                </a:cxn>
                <a:cxn ang="0">
                  <a:pos x="528" y="959"/>
                </a:cxn>
                <a:cxn ang="0">
                  <a:pos x="481" y="929"/>
                </a:cxn>
                <a:cxn ang="0">
                  <a:pos x="436" y="895"/>
                </a:cxn>
                <a:cxn ang="0">
                  <a:pos x="393" y="860"/>
                </a:cxn>
                <a:cxn ang="0">
                  <a:pos x="362" y="832"/>
                </a:cxn>
                <a:cxn ang="0">
                  <a:pos x="332" y="803"/>
                </a:cxn>
                <a:cxn ang="0">
                  <a:pos x="294" y="763"/>
                </a:cxn>
                <a:cxn ang="0">
                  <a:pos x="258" y="720"/>
                </a:cxn>
                <a:cxn ang="0">
                  <a:pos x="223" y="677"/>
                </a:cxn>
                <a:cxn ang="0">
                  <a:pos x="191" y="631"/>
                </a:cxn>
                <a:cxn ang="0">
                  <a:pos x="162" y="584"/>
                </a:cxn>
                <a:cxn ang="0">
                  <a:pos x="134" y="535"/>
                </a:cxn>
                <a:cxn ang="0">
                  <a:pos x="109" y="485"/>
                </a:cxn>
                <a:cxn ang="0">
                  <a:pos x="87" y="434"/>
                </a:cxn>
                <a:cxn ang="0">
                  <a:pos x="67" y="382"/>
                </a:cxn>
                <a:cxn ang="0">
                  <a:pos x="49" y="329"/>
                </a:cxn>
                <a:cxn ang="0">
                  <a:pos x="34" y="276"/>
                </a:cxn>
                <a:cxn ang="0">
                  <a:pos x="22" y="221"/>
                </a:cxn>
                <a:cxn ang="0">
                  <a:pos x="12" y="167"/>
                </a:cxn>
                <a:cxn ang="0">
                  <a:pos x="5" y="111"/>
                </a:cxn>
                <a:cxn ang="0">
                  <a:pos x="1" y="56"/>
                </a:cxn>
                <a:cxn ang="0">
                  <a:pos x="0" y="0"/>
                </a:cxn>
                <a:cxn ang="0">
                  <a:pos x="796" y="18"/>
                </a:cxn>
                <a:cxn ang="0">
                  <a:pos x="798" y="43"/>
                </a:cxn>
                <a:cxn ang="0">
                  <a:pos x="800" y="60"/>
                </a:cxn>
                <a:cxn ang="0">
                  <a:pos x="806" y="85"/>
                </a:cxn>
                <a:cxn ang="0">
                  <a:pos x="816" y="117"/>
                </a:cxn>
                <a:cxn ang="0">
                  <a:pos x="829" y="148"/>
                </a:cxn>
                <a:cxn ang="0">
                  <a:pos x="844" y="176"/>
                </a:cxn>
                <a:cxn ang="0">
                  <a:pos x="863" y="204"/>
                </a:cxn>
                <a:cxn ang="0">
                  <a:pos x="883" y="229"/>
                </a:cxn>
                <a:cxn ang="0">
                  <a:pos x="907" y="252"/>
                </a:cxn>
                <a:cxn ang="0">
                  <a:pos x="932" y="273"/>
                </a:cxn>
                <a:cxn ang="0">
                  <a:pos x="959" y="291"/>
                </a:cxn>
                <a:cxn ang="0">
                  <a:pos x="988" y="307"/>
                </a:cxn>
                <a:cxn ang="0">
                  <a:pos x="1011" y="317"/>
                </a:cxn>
                <a:cxn ang="0">
                  <a:pos x="1034" y="325"/>
                </a:cxn>
                <a:cxn ang="0">
                  <a:pos x="1050" y="330"/>
                </a:cxn>
                <a:cxn ang="0">
                  <a:pos x="1075" y="335"/>
                </a:cxn>
                <a:cxn ang="0">
                  <a:pos x="1100" y="339"/>
                </a:cxn>
                <a:cxn ang="0">
                  <a:pos x="1135" y="340"/>
                </a:cxn>
              </a:cxnLst>
              <a:rect l="0" t="0" r="r" b="b"/>
              <a:pathLst>
                <a:path w="1135" h="1135">
                  <a:moveTo>
                    <a:pt x="1135" y="340"/>
                  </a:moveTo>
                  <a:lnTo>
                    <a:pt x="1135" y="1135"/>
                  </a:lnTo>
                  <a:lnTo>
                    <a:pt x="1107" y="1135"/>
                  </a:lnTo>
                  <a:lnTo>
                    <a:pt x="1080" y="1134"/>
                  </a:lnTo>
                  <a:lnTo>
                    <a:pt x="1052" y="1132"/>
                  </a:lnTo>
                  <a:lnTo>
                    <a:pt x="1024" y="1130"/>
                  </a:lnTo>
                  <a:lnTo>
                    <a:pt x="996" y="1126"/>
                  </a:lnTo>
                  <a:lnTo>
                    <a:pt x="969" y="1123"/>
                  </a:lnTo>
                  <a:lnTo>
                    <a:pt x="941" y="1118"/>
                  </a:lnTo>
                  <a:lnTo>
                    <a:pt x="914" y="1113"/>
                  </a:lnTo>
                  <a:lnTo>
                    <a:pt x="887" y="1107"/>
                  </a:lnTo>
                  <a:lnTo>
                    <a:pt x="860" y="1101"/>
                  </a:lnTo>
                  <a:lnTo>
                    <a:pt x="833" y="1094"/>
                  </a:lnTo>
                  <a:lnTo>
                    <a:pt x="806" y="1086"/>
                  </a:lnTo>
                  <a:lnTo>
                    <a:pt x="780" y="1078"/>
                  </a:lnTo>
                  <a:lnTo>
                    <a:pt x="753" y="1069"/>
                  </a:lnTo>
                  <a:lnTo>
                    <a:pt x="740" y="1064"/>
                  </a:lnTo>
                  <a:lnTo>
                    <a:pt x="727" y="1059"/>
                  </a:lnTo>
                  <a:lnTo>
                    <a:pt x="701" y="1049"/>
                  </a:lnTo>
                  <a:lnTo>
                    <a:pt x="676" y="1038"/>
                  </a:lnTo>
                  <a:lnTo>
                    <a:pt x="650" y="1026"/>
                  </a:lnTo>
                  <a:lnTo>
                    <a:pt x="625" y="1014"/>
                  </a:lnTo>
                  <a:lnTo>
                    <a:pt x="601" y="1001"/>
                  </a:lnTo>
                  <a:lnTo>
                    <a:pt x="576" y="988"/>
                  </a:lnTo>
                  <a:lnTo>
                    <a:pt x="551" y="974"/>
                  </a:lnTo>
                  <a:lnTo>
                    <a:pt x="528" y="959"/>
                  </a:lnTo>
                  <a:lnTo>
                    <a:pt x="504" y="944"/>
                  </a:lnTo>
                  <a:lnTo>
                    <a:pt x="481" y="929"/>
                  </a:lnTo>
                  <a:lnTo>
                    <a:pt x="459" y="912"/>
                  </a:lnTo>
                  <a:lnTo>
                    <a:pt x="436" y="895"/>
                  </a:lnTo>
                  <a:lnTo>
                    <a:pt x="415" y="878"/>
                  </a:lnTo>
                  <a:lnTo>
                    <a:pt x="393" y="860"/>
                  </a:lnTo>
                  <a:lnTo>
                    <a:pt x="373" y="842"/>
                  </a:lnTo>
                  <a:lnTo>
                    <a:pt x="362" y="832"/>
                  </a:lnTo>
                  <a:lnTo>
                    <a:pt x="352" y="822"/>
                  </a:lnTo>
                  <a:lnTo>
                    <a:pt x="332" y="803"/>
                  </a:lnTo>
                  <a:lnTo>
                    <a:pt x="313" y="783"/>
                  </a:lnTo>
                  <a:lnTo>
                    <a:pt x="294" y="763"/>
                  </a:lnTo>
                  <a:lnTo>
                    <a:pt x="276" y="742"/>
                  </a:lnTo>
                  <a:lnTo>
                    <a:pt x="258" y="720"/>
                  </a:lnTo>
                  <a:lnTo>
                    <a:pt x="240" y="699"/>
                  </a:lnTo>
                  <a:lnTo>
                    <a:pt x="223" y="677"/>
                  </a:lnTo>
                  <a:lnTo>
                    <a:pt x="207" y="654"/>
                  </a:lnTo>
                  <a:lnTo>
                    <a:pt x="191" y="631"/>
                  </a:lnTo>
                  <a:lnTo>
                    <a:pt x="176" y="608"/>
                  </a:lnTo>
                  <a:lnTo>
                    <a:pt x="162" y="584"/>
                  </a:lnTo>
                  <a:lnTo>
                    <a:pt x="148" y="559"/>
                  </a:lnTo>
                  <a:lnTo>
                    <a:pt x="134" y="535"/>
                  </a:lnTo>
                  <a:lnTo>
                    <a:pt x="122" y="510"/>
                  </a:lnTo>
                  <a:lnTo>
                    <a:pt x="109" y="485"/>
                  </a:lnTo>
                  <a:lnTo>
                    <a:pt x="98" y="460"/>
                  </a:lnTo>
                  <a:lnTo>
                    <a:pt x="87" y="434"/>
                  </a:lnTo>
                  <a:lnTo>
                    <a:pt x="76" y="408"/>
                  </a:lnTo>
                  <a:lnTo>
                    <a:pt x="67" y="382"/>
                  </a:lnTo>
                  <a:lnTo>
                    <a:pt x="58" y="356"/>
                  </a:lnTo>
                  <a:lnTo>
                    <a:pt x="49" y="329"/>
                  </a:lnTo>
                  <a:lnTo>
                    <a:pt x="41" y="303"/>
                  </a:lnTo>
                  <a:lnTo>
                    <a:pt x="34" y="276"/>
                  </a:lnTo>
                  <a:lnTo>
                    <a:pt x="28" y="249"/>
                  </a:lnTo>
                  <a:lnTo>
                    <a:pt x="22" y="221"/>
                  </a:lnTo>
                  <a:lnTo>
                    <a:pt x="17" y="194"/>
                  </a:lnTo>
                  <a:lnTo>
                    <a:pt x="12" y="167"/>
                  </a:lnTo>
                  <a:lnTo>
                    <a:pt x="8" y="139"/>
                  </a:lnTo>
                  <a:lnTo>
                    <a:pt x="5" y="111"/>
                  </a:lnTo>
                  <a:lnTo>
                    <a:pt x="3" y="84"/>
                  </a:lnTo>
                  <a:lnTo>
                    <a:pt x="1" y="56"/>
                  </a:lnTo>
                  <a:lnTo>
                    <a:pt x="1" y="28"/>
                  </a:lnTo>
                  <a:lnTo>
                    <a:pt x="0" y="0"/>
                  </a:lnTo>
                  <a:lnTo>
                    <a:pt x="795" y="0"/>
                  </a:lnTo>
                  <a:lnTo>
                    <a:pt x="796" y="18"/>
                  </a:lnTo>
                  <a:lnTo>
                    <a:pt x="797" y="35"/>
                  </a:lnTo>
                  <a:lnTo>
                    <a:pt x="798" y="43"/>
                  </a:lnTo>
                  <a:lnTo>
                    <a:pt x="799" y="52"/>
                  </a:lnTo>
                  <a:lnTo>
                    <a:pt x="800" y="60"/>
                  </a:lnTo>
                  <a:lnTo>
                    <a:pt x="802" y="69"/>
                  </a:lnTo>
                  <a:lnTo>
                    <a:pt x="806" y="85"/>
                  </a:lnTo>
                  <a:lnTo>
                    <a:pt x="810" y="101"/>
                  </a:lnTo>
                  <a:lnTo>
                    <a:pt x="816" y="117"/>
                  </a:lnTo>
                  <a:lnTo>
                    <a:pt x="822" y="133"/>
                  </a:lnTo>
                  <a:lnTo>
                    <a:pt x="829" y="148"/>
                  </a:lnTo>
                  <a:lnTo>
                    <a:pt x="836" y="162"/>
                  </a:lnTo>
                  <a:lnTo>
                    <a:pt x="844" y="176"/>
                  </a:lnTo>
                  <a:lnTo>
                    <a:pt x="853" y="190"/>
                  </a:lnTo>
                  <a:lnTo>
                    <a:pt x="863" y="204"/>
                  </a:lnTo>
                  <a:lnTo>
                    <a:pt x="873" y="216"/>
                  </a:lnTo>
                  <a:lnTo>
                    <a:pt x="883" y="229"/>
                  </a:lnTo>
                  <a:lnTo>
                    <a:pt x="895" y="241"/>
                  </a:lnTo>
                  <a:lnTo>
                    <a:pt x="907" y="252"/>
                  </a:lnTo>
                  <a:lnTo>
                    <a:pt x="919" y="263"/>
                  </a:lnTo>
                  <a:lnTo>
                    <a:pt x="932" y="273"/>
                  </a:lnTo>
                  <a:lnTo>
                    <a:pt x="945" y="282"/>
                  </a:lnTo>
                  <a:lnTo>
                    <a:pt x="959" y="291"/>
                  </a:lnTo>
                  <a:lnTo>
                    <a:pt x="973" y="299"/>
                  </a:lnTo>
                  <a:lnTo>
                    <a:pt x="988" y="307"/>
                  </a:lnTo>
                  <a:lnTo>
                    <a:pt x="1003" y="314"/>
                  </a:lnTo>
                  <a:lnTo>
                    <a:pt x="1011" y="317"/>
                  </a:lnTo>
                  <a:lnTo>
                    <a:pt x="1018" y="320"/>
                  </a:lnTo>
                  <a:lnTo>
                    <a:pt x="1034" y="325"/>
                  </a:lnTo>
                  <a:lnTo>
                    <a:pt x="1042" y="327"/>
                  </a:lnTo>
                  <a:lnTo>
                    <a:pt x="1050" y="330"/>
                  </a:lnTo>
                  <a:lnTo>
                    <a:pt x="1067" y="333"/>
                  </a:lnTo>
                  <a:lnTo>
                    <a:pt x="1075" y="335"/>
                  </a:lnTo>
                  <a:lnTo>
                    <a:pt x="1083" y="336"/>
                  </a:lnTo>
                  <a:lnTo>
                    <a:pt x="1100" y="339"/>
                  </a:lnTo>
                  <a:lnTo>
                    <a:pt x="1118" y="340"/>
                  </a:lnTo>
                  <a:lnTo>
                    <a:pt x="1135" y="340"/>
                  </a:lnTo>
                  <a:close/>
                </a:path>
              </a:pathLst>
            </a:custGeom>
            <a:solidFill>
              <a:srgbClr val="7F7F7F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55" name="Freeform 91"/>
            <p:cNvSpPr>
              <a:spLocks noChangeAspect="1"/>
            </p:cNvSpPr>
            <p:nvPr/>
          </p:nvSpPr>
          <p:spPr bwMode="auto">
            <a:xfrm>
              <a:off x="4740275" y="1628800"/>
              <a:ext cx="930275" cy="930275"/>
            </a:xfrm>
            <a:custGeom>
              <a:avLst/>
              <a:gdLst/>
              <a:ahLst/>
              <a:cxnLst>
                <a:cxn ang="0">
                  <a:pos x="0" y="1135"/>
                </a:cxn>
                <a:cxn ang="0">
                  <a:pos x="2" y="1080"/>
                </a:cxn>
                <a:cxn ang="0">
                  <a:pos x="6" y="1024"/>
                </a:cxn>
                <a:cxn ang="0">
                  <a:pos x="13" y="969"/>
                </a:cxn>
                <a:cxn ang="0">
                  <a:pos x="22" y="914"/>
                </a:cxn>
                <a:cxn ang="0">
                  <a:pos x="34" y="860"/>
                </a:cxn>
                <a:cxn ang="0">
                  <a:pos x="49" y="806"/>
                </a:cxn>
                <a:cxn ang="0">
                  <a:pos x="67" y="753"/>
                </a:cxn>
                <a:cxn ang="0">
                  <a:pos x="76" y="727"/>
                </a:cxn>
                <a:cxn ang="0">
                  <a:pos x="98" y="676"/>
                </a:cxn>
                <a:cxn ang="0">
                  <a:pos x="121" y="625"/>
                </a:cxn>
                <a:cxn ang="0">
                  <a:pos x="147" y="576"/>
                </a:cxn>
                <a:cxn ang="0">
                  <a:pos x="176" y="527"/>
                </a:cxn>
                <a:cxn ang="0">
                  <a:pos x="207" y="481"/>
                </a:cxn>
                <a:cxn ang="0">
                  <a:pos x="240" y="436"/>
                </a:cxn>
                <a:cxn ang="0">
                  <a:pos x="275" y="393"/>
                </a:cxn>
                <a:cxn ang="0">
                  <a:pos x="303" y="362"/>
                </a:cxn>
                <a:cxn ang="0">
                  <a:pos x="332" y="332"/>
                </a:cxn>
                <a:cxn ang="0">
                  <a:pos x="373" y="294"/>
                </a:cxn>
                <a:cxn ang="0">
                  <a:pos x="415" y="258"/>
                </a:cxn>
                <a:cxn ang="0">
                  <a:pos x="459" y="223"/>
                </a:cxn>
                <a:cxn ang="0">
                  <a:pos x="504" y="191"/>
                </a:cxn>
                <a:cxn ang="0">
                  <a:pos x="551" y="162"/>
                </a:cxn>
                <a:cxn ang="0">
                  <a:pos x="601" y="134"/>
                </a:cxn>
                <a:cxn ang="0">
                  <a:pos x="650" y="109"/>
                </a:cxn>
                <a:cxn ang="0">
                  <a:pos x="701" y="87"/>
                </a:cxn>
                <a:cxn ang="0">
                  <a:pos x="753" y="67"/>
                </a:cxn>
                <a:cxn ang="0">
                  <a:pos x="806" y="49"/>
                </a:cxn>
                <a:cxn ang="0">
                  <a:pos x="860" y="34"/>
                </a:cxn>
                <a:cxn ang="0">
                  <a:pos x="914" y="22"/>
                </a:cxn>
                <a:cxn ang="0">
                  <a:pos x="969" y="12"/>
                </a:cxn>
                <a:cxn ang="0">
                  <a:pos x="1024" y="5"/>
                </a:cxn>
                <a:cxn ang="0">
                  <a:pos x="1079" y="1"/>
                </a:cxn>
                <a:cxn ang="0">
                  <a:pos x="1135" y="0"/>
                </a:cxn>
                <a:cxn ang="0">
                  <a:pos x="1118" y="795"/>
                </a:cxn>
                <a:cxn ang="0">
                  <a:pos x="1092" y="798"/>
                </a:cxn>
                <a:cxn ang="0">
                  <a:pos x="1075" y="800"/>
                </a:cxn>
                <a:cxn ang="0">
                  <a:pos x="1050" y="806"/>
                </a:cxn>
                <a:cxn ang="0">
                  <a:pos x="1018" y="816"/>
                </a:cxn>
                <a:cxn ang="0">
                  <a:pos x="988" y="829"/>
                </a:cxn>
                <a:cxn ang="0">
                  <a:pos x="959" y="844"/>
                </a:cxn>
                <a:cxn ang="0">
                  <a:pos x="932" y="863"/>
                </a:cxn>
                <a:cxn ang="0">
                  <a:pos x="906" y="883"/>
                </a:cxn>
                <a:cxn ang="0">
                  <a:pos x="883" y="906"/>
                </a:cxn>
                <a:cxn ang="0">
                  <a:pos x="863" y="932"/>
                </a:cxn>
                <a:cxn ang="0">
                  <a:pos x="844" y="959"/>
                </a:cxn>
                <a:cxn ang="0">
                  <a:pos x="829" y="988"/>
                </a:cxn>
                <a:cxn ang="0">
                  <a:pos x="819" y="1010"/>
                </a:cxn>
                <a:cxn ang="0">
                  <a:pos x="810" y="1034"/>
                </a:cxn>
                <a:cxn ang="0">
                  <a:pos x="806" y="1050"/>
                </a:cxn>
                <a:cxn ang="0">
                  <a:pos x="800" y="1075"/>
                </a:cxn>
                <a:cxn ang="0">
                  <a:pos x="797" y="1100"/>
                </a:cxn>
                <a:cxn ang="0">
                  <a:pos x="795" y="1135"/>
                </a:cxn>
              </a:cxnLst>
              <a:rect l="0" t="0" r="r" b="b"/>
              <a:pathLst>
                <a:path w="1135" h="1135">
                  <a:moveTo>
                    <a:pt x="795" y="1135"/>
                  </a:moveTo>
                  <a:lnTo>
                    <a:pt x="0" y="1135"/>
                  </a:lnTo>
                  <a:lnTo>
                    <a:pt x="1" y="1107"/>
                  </a:lnTo>
                  <a:lnTo>
                    <a:pt x="2" y="1080"/>
                  </a:lnTo>
                  <a:lnTo>
                    <a:pt x="3" y="1052"/>
                  </a:lnTo>
                  <a:lnTo>
                    <a:pt x="6" y="1024"/>
                  </a:lnTo>
                  <a:lnTo>
                    <a:pt x="9" y="996"/>
                  </a:lnTo>
                  <a:lnTo>
                    <a:pt x="13" y="969"/>
                  </a:lnTo>
                  <a:lnTo>
                    <a:pt x="17" y="941"/>
                  </a:lnTo>
                  <a:lnTo>
                    <a:pt x="22" y="914"/>
                  </a:lnTo>
                  <a:lnTo>
                    <a:pt x="28" y="887"/>
                  </a:lnTo>
                  <a:lnTo>
                    <a:pt x="34" y="860"/>
                  </a:lnTo>
                  <a:lnTo>
                    <a:pt x="41" y="833"/>
                  </a:lnTo>
                  <a:lnTo>
                    <a:pt x="49" y="806"/>
                  </a:lnTo>
                  <a:lnTo>
                    <a:pt x="58" y="780"/>
                  </a:lnTo>
                  <a:lnTo>
                    <a:pt x="67" y="753"/>
                  </a:lnTo>
                  <a:lnTo>
                    <a:pt x="71" y="740"/>
                  </a:lnTo>
                  <a:lnTo>
                    <a:pt x="76" y="727"/>
                  </a:lnTo>
                  <a:lnTo>
                    <a:pt x="87" y="701"/>
                  </a:lnTo>
                  <a:lnTo>
                    <a:pt x="98" y="676"/>
                  </a:lnTo>
                  <a:lnTo>
                    <a:pt x="109" y="650"/>
                  </a:lnTo>
                  <a:lnTo>
                    <a:pt x="121" y="625"/>
                  </a:lnTo>
                  <a:lnTo>
                    <a:pt x="134" y="601"/>
                  </a:lnTo>
                  <a:lnTo>
                    <a:pt x="147" y="576"/>
                  </a:lnTo>
                  <a:lnTo>
                    <a:pt x="161" y="551"/>
                  </a:lnTo>
                  <a:lnTo>
                    <a:pt x="176" y="527"/>
                  </a:lnTo>
                  <a:lnTo>
                    <a:pt x="191" y="504"/>
                  </a:lnTo>
                  <a:lnTo>
                    <a:pt x="207" y="481"/>
                  </a:lnTo>
                  <a:lnTo>
                    <a:pt x="223" y="459"/>
                  </a:lnTo>
                  <a:lnTo>
                    <a:pt x="240" y="436"/>
                  </a:lnTo>
                  <a:lnTo>
                    <a:pt x="257" y="415"/>
                  </a:lnTo>
                  <a:lnTo>
                    <a:pt x="275" y="393"/>
                  </a:lnTo>
                  <a:lnTo>
                    <a:pt x="294" y="373"/>
                  </a:lnTo>
                  <a:lnTo>
                    <a:pt x="303" y="362"/>
                  </a:lnTo>
                  <a:lnTo>
                    <a:pt x="313" y="352"/>
                  </a:lnTo>
                  <a:lnTo>
                    <a:pt x="332" y="332"/>
                  </a:lnTo>
                  <a:lnTo>
                    <a:pt x="352" y="313"/>
                  </a:lnTo>
                  <a:lnTo>
                    <a:pt x="373" y="294"/>
                  </a:lnTo>
                  <a:lnTo>
                    <a:pt x="393" y="276"/>
                  </a:lnTo>
                  <a:lnTo>
                    <a:pt x="415" y="258"/>
                  </a:lnTo>
                  <a:lnTo>
                    <a:pt x="437" y="240"/>
                  </a:lnTo>
                  <a:lnTo>
                    <a:pt x="459" y="223"/>
                  </a:lnTo>
                  <a:lnTo>
                    <a:pt x="481" y="207"/>
                  </a:lnTo>
                  <a:lnTo>
                    <a:pt x="504" y="191"/>
                  </a:lnTo>
                  <a:lnTo>
                    <a:pt x="528" y="176"/>
                  </a:lnTo>
                  <a:lnTo>
                    <a:pt x="551" y="162"/>
                  </a:lnTo>
                  <a:lnTo>
                    <a:pt x="576" y="148"/>
                  </a:lnTo>
                  <a:lnTo>
                    <a:pt x="601" y="134"/>
                  </a:lnTo>
                  <a:lnTo>
                    <a:pt x="625" y="121"/>
                  </a:lnTo>
                  <a:lnTo>
                    <a:pt x="650" y="109"/>
                  </a:lnTo>
                  <a:lnTo>
                    <a:pt x="676" y="98"/>
                  </a:lnTo>
                  <a:lnTo>
                    <a:pt x="701" y="87"/>
                  </a:lnTo>
                  <a:lnTo>
                    <a:pt x="727" y="76"/>
                  </a:lnTo>
                  <a:lnTo>
                    <a:pt x="753" y="67"/>
                  </a:lnTo>
                  <a:lnTo>
                    <a:pt x="779" y="57"/>
                  </a:lnTo>
                  <a:lnTo>
                    <a:pt x="806" y="49"/>
                  </a:lnTo>
                  <a:lnTo>
                    <a:pt x="833" y="41"/>
                  </a:lnTo>
                  <a:lnTo>
                    <a:pt x="860" y="34"/>
                  </a:lnTo>
                  <a:lnTo>
                    <a:pt x="887" y="28"/>
                  </a:lnTo>
                  <a:lnTo>
                    <a:pt x="914" y="22"/>
                  </a:lnTo>
                  <a:lnTo>
                    <a:pt x="941" y="17"/>
                  </a:lnTo>
                  <a:lnTo>
                    <a:pt x="969" y="12"/>
                  </a:lnTo>
                  <a:lnTo>
                    <a:pt x="996" y="8"/>
                  </a:lnTo>
                  <a:lnTo>
                    <a:pt x="1024" y="5"/>
                  </a:lnTo>
                  <a:lnTo>
                    <a:pt x="1052" y="3"/>
                  </a:lnTo>
                  <a:lnTo>
                    <a:pt x="1079" y="1"/>
                  </a:lnTo>
                  <a:lnTo>
                    <a:pt x="1107" y="1"/>
                  </a:lnTo>
                  <a:lnTo>
                    <a:pt x="1135" y="0"/>
                  </a:lnTo>
                  <a:lnTo>
                    <a:pt x="1135" y="795"/>
                  </a:lnTo>
                  <a:lnTo>
                    <a:pt x="1118" y="795"/>
                  </a:lnTo>
                  <a:lnTo>
                    <a:pt x="1100" y="797"/>
                  </a:lnTo>
                  <a:lnTo>
                    <a:pt x="1092" y="798"/>
                  </a:lnTo>
                  <a:lnTo>
                    <a:pt x="1083" y="799"/>
                  </a:lnTo>
                  <a:lnTo>
                    <a:pt x="1075" y="800"/>
                  </a:lnTo>
                  <a:lnTo>
                    <a:pt x="1067" y="802"/>
                  </a:lnTo>
                  <a:lnTo>
                    <a:pt x="1050" y="806"/>
                  </a:lnTo>
                  <a:lnTo>
                    <a:pt x="1034" y="810"/>
                  </a:lnTo>
                  <a:lnTo>
                    <a:pt x="1018" y="816"/>
                  </a:lnTo>
                  <a:lnTo>
                    <a:pt x="1003" y="822"/>
                  </a:lnTo>
                  <a:lnTo>
                    <a:pt x="988" y="829"/>
                  </a:lnTo>
                  <a:lnTo>
                    <a:pt x="973" y="836"/>
                  </a:lnTo>
                  <a:lnTo>
                    <a:pt x="959" y="844"/>
                  </a:lnTo>
                  <a:lnTo>
                    <a:pt x="945" y="853"/>
                  </a:lnTo>
                  <a:lnTo>
                    <a:pt x="932" y="863"/>
                  </a:lnTo>
                  <a:lnTo>
                    <a:pt x="919" y="873"/>
                  </a:lnTo>
                  <a:lnTo>
                    <a:pt x="906" y="883"/>
                  </a:lnTo>
                  <a:lnTo>
                    <a:pt x="895" y="895"/>
                  </a:lnTo>
                  <a:lnTo>
                    <a:pt x="883" y="906"/>
                  </a:lnTo>
                  <a:lnTo>
                    <a:pt x="873" y="919"/>
                  </a:lnTo>
                  <a:lnTo>
                    <a:pt x="863" y="932"/>
                  </a:lnTo>
                  <a:lnTo>
                    <a:pt x="853" y="945"/>
                  </a:lnTo>
                  <a:lnTo>
                    <a:pt x="844" y="959"/>
                  </a:lnTo>
                  <a:lnTo>
                    <a:pt x="836" y="973"/>
                  </a:lnTo>
                  <a:lnTo>
                    <a:pt x="829" y="988"/>
                  </a:lnTo>
                  <a:lnTo>
                    <a:pt x="822" y="1003"/>
                  </a:lnTo>
                  <a:lnTo>
                    <a:pt x="819" y="1010"/>
                  </a:lnTo>
                  <a:lnTo>
                    <a:pt x="816" y="1018"/>
                  </a:lnTo>
                  <a:lnTo>
                    <a:pt x="810" y="1034"/>
                  </a:lnTo>
                  <a:lnTo>
                    <a:pt x="808" y="1042"/>
                  </a:lnTo>
                  <a:lnTo>
                    <a:pt x="806" y="1050"/>
                  </a:lnTo>
                  <a:lnTo>
                    <a:pt x="802" y="1067"/>
                  </a:lnTo>
                  <a:lnTo>
                    <a:pt x="800" y="1075"/>
                  </a:lnTo>
                  <a:lnTo>
                    <a:pt x="799" y="1083"/>
                  </a:lnTo>
                  <a:lnTo>
                    <a:pt x="797" y="1100"/>
                  </a:lnTo>
                  <a:lnTo>
                    <a:pt x="795" y="1118"/>
                  </a:lnTo>
                  <a:lnTo>
                    <a:pt x="795" y="1135"/>
                  </a:lnTo>
                  <a:close/>
                </a:path>
              </a:pathLst>
            </a:custGeom>
            <a:solidFill>
              <a:srgbClr val="FF952E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56" name="Text Box 92"/>
            <p:cNvSpPr txBox="1">
              <a:spLocks noChangeArrowheads="1"/>
            </p:cNvSpPr>
            <p:nvPr/>
          </p:nvSpPr>
          <p:spPr bwMode="auto">
            <a:xfrm>
              <a:off x="4999038" y="1966938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36957" name="Text Box 93"/>
            <p:cNvSpPr txBox="1">
              <a:spLocks noChangeArrowheads="1"/>
            </p:cNvSpPr>
            <p:nvPr/>
          </p:nvSpPr>
          <p:spPr bwMode="auto">
            <a:xfrm>
              <a:off x="5929313" y="1966938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58" name="Text Box 94"/>
            <p:cNvSpPr txBox="1">
              <a:spLocks noChangeArrowheads="1"/>
            </p:cNvSpPr>
            <p:nvPr/>
          </p:nvSpPr>
          <p:spPr bwMode="auto">
            <a:xfrm>
              <a:off x="4999038" y="2895625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59" name="Text Box 95"/>
            <p:cNvSpPr txBox="1">
              <a:spLocks noChangeArrowheads="1"/>
            </p:cNvSpPr>
            <p:nvPr/>
          </p:nvSpPr>
          <p:spPr bwMode="auto">
            <a:xfrm>
              <a:off x="5929313" y="2895625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371269" y="1540137"/>
            <a:ext cx="2015597" cy="1949213"/>
            <a:chOff x="6948488" y="1628800"/>
            <a:chExt cx="1860551" cy="1860550"/>
          </a:xfrm>
          <a:solidFill>
            <a:srgbClr val="7F7F7F"/>
          </a:solidFill>
        </p:grpSpPr>
        <p:sp>
          <p:nvSpPr>
            <p:cNvPr id="36961" name="Freeform 97"/>
            <p:cNvSpPr>
              <a:spLocks noChangeAspect="1"/>
            </p:cNvSpPr>
            <p:nvPr/>
          </p:nvSpPr>
          <p:spPr bwMode="auto">
            <a:xfrm>
              <a:off x="7878763" y="1628800"/>
              <a:ext cx="884238" cy="844550"/>
            </a:xfrm>
            <a:custGeom>
              <a:avLst/>
              <a:gdLst/>
              <a:ahLst/>
              <a:cxnLst>
                <a:cxn ang="0">
                  <a:pos x="323" y="1030"/>
                </a:cxn>
                <a:cxn ang="0">
                  <a:pos x="314" y="1005"/>
                </a:cxn>
                <a:cxn ang="0">
                  <a:pos x="303" y="981"/>
                </a:cxn>
                <a:cxn ang="0">
                  <a:pos x="290" y="958"/>
                </a:cxn>
                <a:cxn ang="0">
                  <a:pos x="275" y="936"/>
                </a:cxn>
                <a:cxn ang="0">
                  <a:pos x="259" y="915"/>
                </a:cxn>
                <a:cxn ang="0">
                  <a:pos x="241" y="896"/>
                </a:cxn>
                <a:cxn ang="0">
                  <a:pos x="222" y="878"/>
                </a:cxn>
                <a:cxn ang="0">
                  <a:pos x="202" y="861"/>
                </a:cxn>
                <a:cxn ang="0">
                  <a:pos x="191" y="854"/>
                </a:cxn>
                <a:cxn ang="0">
                  <a:pos x="169" y="840"/>
                </a:cxn>
                <a:cxn ang="0">
                  <a:pos x="145" y="828"/>
                </a:cxn>
                <a:cxn ang="0">
                  <a:pos x="121" y="817"/>
                </a:cxn>
                <a:cxn ang="0">
                  <a:pos x="95" y="809"/>
                </a:cxn>
                <a:cxn ang="0">
                  <a:pos x="69" y="802"/>
                </a:cxn>
                <a:cxn ang="0">
                  <a:pos x="42" y="798"/>
                </a:cxn>
                <a:cxn ang="0">
                  <a:pos x="14" y="795"/>
                </a:cxn>
                <a:cxn ang="0">
                  <a:pos x="0" y="0"/>
                </a:cxn>
                <a:cxn ang="0">
                  <a:pos x="56" y="2"/>
                </a:cxn>
                <a:cxn ang="0">
                  <a:pos x="111" y="6"/>
                </a:cxn>
                <a:cxn ang="0">
                  <a:pos x="166" y="13"/>
                </a:cxn>
                <a:cxn ang="0">
                  <a:pos x="221" y="22"/>
                </a:cxn>
                <a:cxn ang="0">
                  <a:pos x="275" y="34"/>
                </a:cxn>
                <a:cxn ang="0">
                  <a:pos x="329" y="49"/>
                </a:cxn>
                <a:cxn ang="0">
                  <a:pos x="382" y="67"/>
                </a:cxn>
                <a:cxn ang="0">
                  <a:pos x="408" y="76"/>
                </a:cxn>
                <a:cxn ang="0">
                  <a:pos x="459" y="98"/>
                </a:cxn>
                <a:cxn ang="0">
                  <a:pos x="510" y="121"/>
                </a:cxn>
                <a:cxn ang="0">
                  <a:pos x="559" y="147"/>
                </a:cxn>
                <a:cxn ang="0">
                  <a:pos x="608" y="176"/>
                </a:cxn>
                <a:cxn ang="0">
                  <a:pos x="654" y="207"/>
                </a:cxn>
                <a:cxn ang="0">
                  <a:pos x="699" y="240"/>
                </a:cxn>
                <a:cxn ang="0">
                  <a:pos x="742" y="275"/>
                </a:cxn>
                <a:cxn ang="0">
                  <a:pos x="773" y="303"/>
                </a:cxn>
                <a:cxn ang="0">
                  <a:pos x="803" y="332"/>
                </a:cxn>
                <a:cxn ang="0">
                  <a:pos x="826" y="356"/>
                </a:cxn>
                <a:cxn ang="0">
                  <a:pos x="849" y="381"/>
                </a:cxn>
                <a:cxn ang="0">
                  <a:pos x="870" y="406"/>
                </a:cxn>
                <a:cxn ang="0">
                  <a:pos x="891" y="432"/>
                </a:cxn>
                <a:cxn ang="0">
                  <a:pos x="912" y="459"/>
                </a:cxn>
                <a:cxn ang="0">
                  <a:pos x="950" y="514"/>
                </a:cxn>
                <a:cxn ang="0">
                  <a:pos x="985" y="571"/>
                </a:cxn>
                <a:cxn ang="0">
                  <a:pos x="1016" y="630"/>
                </a:cxn>
                <a:cxn ang="0">
                  <a:pos x="1038" y="676"/>
                </a:cxn>
                <a:cxn ang="0">
                  <a:pos x="1057" y="722"/>
                </a:cxn>
                <a:cxn ang="0">
                  <a:pos x="1079" y="785"/>
                </a:cxn>
              </a:cxnLst>
              <a:rect l="0" t="0" r="r" b="b"/>
              <a:pathLst>
                <a:path w="1079" h="1030">
                  <a:moveTo>
                    <a:pt x="1079" y="785"/>
                  </a:moveTo>
                  <a:lnTo>
                    <a:pt x="323" y="1030"/>
                  </a:lnTo>
                  <a:lnTo>
                    <a:pt x="319" y="1017"/>
                  </a:lnTo>
                  <a:lnTo>
                    <a:pt x="314" y="1005"/>
                  </a:lnTo>
                  <a:lnTo>
                    <a:pt x="309" y="993"/>
                  </a:lnTo>
                  <a:lnTo>
                    <a:pt x="303" y="981"/>
                  </a:lnTo>
                  <a:lnTo>
                    <a:pt x="297" y="969"/>
                  </a:lnTo>
                  <a:lnTo>
                    <a:pt x="290" y="958"/>
                  </a:lnTo>
                  <a:lnTo>
                    <a:pt x="283" y="947"/>
                  </a:lnTo>
                  <a:lnTo>
                    <a:pt x="275" y="936"/>
                  </a:lnTo>
                  <a:lnTo>
                    <a:pt x="268" y="925"/>
                  </a:lnTo>
                  <a:lnTo>
                    <a:pt x="259" y="915"/>
                  </a:lnTo>
                  <a:lnTo>
                    <a:pt x="251" y="905"/>
                  </a:lnTo>
                  <a:lnTo>
                    <a:pt x="241" y="896"/>
                  </a:lnTo>
                  <a:lnTo>
                    <a:pt x="232" y="887"/>
                  </a:lnTo>
                  <a:lnTo>
                    <a:pt x="222" y="878"/>
                  </a:lnTo>
                  <a:lnTo>
                    <a:pt x="212" y="869"/>
                  </a:lnTo>
                  <a:lnTo>
                    <a:pt x="202" y="861"/>
                  </a:lnTo>
                  <a:lnTo>
                    <a:pt x="196" y="858"/>
                  </a:lnTo>
                  <a:lnTo>
                    <a:pt x="191" y="854"/>
                  </a:lnTo>
                  <a:lnTo>
                    <a:pt x="180" y="847"/>
                  </a:lnTo>
                  <a:lnTo>
                    <a:pt x="169" y="840"/>
                  </a:lnTo>
                  <a:lnTo>
                    <a:pt x="157" y="833"/>
                  </a:lnTo>
                  <a:lnTo>
                    <a:pt x="145" y="828"/>
                  </a:lnTo>
                  <a:lnTo>
                    <a:pt x="133" y="822"/>
                  </a:lnTo>
                  <a:lnTo>
                    <a:pt x="121" y="817"/>
                  </a:lnTo>
                  <a:lnTo>
                    <a:pt x="108" y="813"/>
                  </a:lnTo>
                  <a:lnTo>
                    <a:pt x="95" y="809"/>
                  </a:lnTo>
                  <a:lnTo>
                    <a:pt x="82" y="805"/>
                  </a:lnTo>
                  <a:lnTo>
                    <a:pt x="69" y="802"/>
                  </a:lnTo>
                  <a:lnTo>
                    <a:pt x="55" y="800"/>
                  </a:lnTo>
                  <a:lnTo>
                    <a:pt x="42" y="798"/>
                  </a:lnTo>
                  <a:lnTo>
                    <a:pt x="28" y="796"/>
                  </a:lnTo>
                  <a:lnTo>
                    <a:pt x="14" y="795"/>
                  </a:lnTo>
                  <a:lnTo>
                    <a:pt x="0" y="795"/>
                  </a:lnTo>
                  <a:lnTo>
                    <a:pt x="0" y="0"/>
                  </a:lnTo>
                  <a:lnTo>
                    <a:pt x="28" y="1"/>
                  </a:lnTo>
                  <a:lnTo>
                    <a:pt x="56" y="2"/>
                  </a:lnTo>
                  <a:lnTo>
                    <a:pt x="83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6" y="13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8" y="28"/>
                  </a:lnTo>
                  <a:lnTo>
                    <a:pt x="275" y="34"/>
                  </a:lnTo>
                  <a:lnTo>
                    <a:pt x="302" y="42"/>
                  </a:lnTo>
                  <a:lnTo>
                    <a:pt x="329" y="49"/>
                  </a:lnTo>
                  <a:lnTo>
                    <a:pt x="356" y="58"/>
                  </a:lnTo>
                  <a:lnTo>
                    <a:pt x="382" y="67"/>
                  </a:lnTo>
                  <a:lnTo>
                    <a:pt x="395" y="71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59" y="98"/>
                  </a:lnTo>
                  <a:lnTo>
                    <a:pt x="485" y="109"/>
                  </a:lnTo>
                  <a:lnTo>
                    <a:pt x="510" y="121"/>
                  </a:lnTo>
                  <a:lnTo>
                    <a:pt x="535" y="134"/>
                  </a:lnTo>
                  <a:lnTo>
                    <a:pt x="559" y="147"/>
                  </a:lnTo>
                  <a:lnTo>
                    <a:pt x="584" y="161"/>
                  </a:lnTo>
                  <a:lnTo>
                    <a:pt x="608" y="176"/>
                  </a:lnTo>
                  <a:lnTo>
                    <a:pt x="631" y="191"/>
                  </a:lnTo>
                  <a:lnTo>
                    <a:pt x="654" y="207"/>
                  </a:lnTo>
                  <a:lnTo>
                    <a:pt x="677" y="223"/>
                  </a:lnTo>
                  <a:lnTo>
                    <a:pt x="699" y="240"/>
                  </a:lnTo>
                  <a:lnTo>
                    <a:pt x="720" y="257"/>
                  </a:lnTo>
                  <a:lnTo>
                    <a:pt x="742" y="275"/>
                  </a:lnTo>
                  <a:lnTo>
                    <a:pt x="763" y="294"/>
                  </a:lnTo>
                  <a:lnTo>
                    <a:pt x="773" y="303"/>
                  </a:lnTo>
                  <a:lnTo>
                    <a:pt x="783" y="313"/>
                  </a:lnTo>
                  <a:lnTo>
                    <a:pt x="803" y="332"/>
                  </a:lnTo>
                  <a:lnTo>
                    <a:pt x="814" y="344"/>
                  </a:lnTo>
                  <a:lnTo>
                    <a:pt x="826" y="356"/>
                  </a:lnTo>
                  <a:lnTo>
                    <a:pt x="837" y="369"/>
                  </a:lnTo>
                  <a:lnTo>
                    <a:pt x="849" y="381"/>
                  </a:lnTo>
                  <a:lnTo>
                    <a:pt x="860" y="394"/>
                  </a:lnTo>
                  <a:lnTo>
                    <a:pt x="870" y="406"/>
                  </a:lnTo>
                  <a:lnTo>
                    <a:pt x="881" y="419"/>
                  </a:lnTo>
                  <a:lnTo>
                    <a:pt x="891" y="432"/>
                  </a:lnTo>
                  <a:lnTo>
                    <a:pt x="902" y="445"/>
                  </a:lnTo>
                  <a:lnTo>
                    <a:pt x="912" y="459"/>
                  </a:lnTo>
                  <a:lnTo>
                    <a:pt x="931" y="486"/>
                  </a:lnTo>
                  <a:lnTo>
                    <a:pt x="950" y="514"/>
                  </a:lnTo>
                  <a:lnTo>
                    <a:pt x="968" y="542"/>
                  </a:lnTo>
                  <a:lnTo>
                    <a:pt x="985" y="571"/>
                  </a:lnTo>
                  <a:lnTo>
                    <a:pt x="1001" y="601"/>
                  </a:lnTo>
                  <a:lnTo>
                    <a:pt x="1016" y="630"/>
                  </a:lnTo>
                  <a:lnTo>
                    <a:pt x="1031" y="660"/>
                  </a:lnTo>
                  <a:lnTo>
                    <a:pt x="1038" y="676"/>
                  </a:lnTo>
                  <a:lnTo>
                    <a:pt x="1044" y="691"/>
                  </a:lnTo>
                  <a:lnTo>
                    <a:pt x="1057" y="722"/>
                  </a:lnTo>
                  <a:lnTo>
                    <a:pt x="1069" y="753"/>
                  </a:lnTo>
                  <a:lnTo>
                    <a:pt x="1079" y="78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62" name="Freeform 98"/>
            <p:cNvSpPr>
              <a:spLocks noChangeAspect="1"/>
            </p:cNvSpPr>
            <p:nvPr/>
          </p:nvSpPr>
          <p:spPr bwMode="auto">
            <a:xfrm>
              <a:off x="8042276" y="2271738"/>
              <a:ext cx="766763" cy="1039813"/>
            </a:xfrm>
            <a:custGeom>
              <a:avLst/>
              <a:gdLst/>
              <a:ahLst/>
              <a:cxnLst>
                <a:cxn ang="0">
                  <a:pos x="879" y="0"/>
                </a:cxn>
                <a:cxn ang="0">
                  <a:pos x="895" y="53"/>
                </a:cxn>
                <a:cxn ang="0">
                  <a:pos x="909" y="107"/>
                </a:cxn>
                <a:cxn ang="0">
                  <a:pos x="919" y="162"/>
                </a:cxn>
                <a:cxn ang="0">
                  <a:pos x="927" y="217"/>
                </a:cxn>
                <a:cxn ang="0">
                  <a:pos x="932" y="272"/>
                </a:cxn>
                <a:cxn ang="0">
                  <a:pos x="935" y="328"/>
                </a:cxn>
                <a:cxn ang="0">
                  <a:pos x="934" y="383"/>
                </a:cxn>
                <a:cxn ang="0">
                  <a:pos x="931" y="439"/>
                </a:cxn>
                <a:cxn ang="0">
                  <a:pos x="926" y="494"/>
                </a:cxn>
                <a:cxn ang="0">
                  <a:pos x="917" y="549"/>
                </a:cxn>
                <a:cxn ang="0">
                  <a:pos x="912" y="577"/>
                </a:cxn>
                <a:cxn ang="0">
                  <a:pos x="900" y="631"/>
                </a:cxn>
                <a:cxn ang="0">
                  <a:pos x="885" y="684"/>
                </a:cxn>
                <a:cxn ang="0">
                  <a:pos x="867" y="737"/>
                </a:cxn>
                <a:cxn ang="0">
                  <a:pos x="847" y="789"/>
                </a:cxn>
                <a:cxn ang="0">
                  <a:pos x="824" y="840"/>
                </a:cxn>
                <a:cxn ang="0">
                  <a:pos x="796" y="894"/>
                </a:cxn>
                <a:cxn ang="0">
                  <a:pos x="779" y="924"/>
                </a:cxn>
                <a:cxn ang="0">
                  <a:pos x="744" y="981"/>
                </a:cxn>
                <a:cxn ang="0">
                  <a:pos x="705" y="1035"/>
                </a:cxn>
                <a:cxn ang="0">
                  <a:pos x="684" y="1062"/>
                </a:cxn>
                <a:cxn ang="0">
                  <a:pos x="641" y="1112"/>
                </a:cxn>
                <a:cxn ang="0">
                  <a:pos x="595" y="1160"/>
                </a:cxn>
                <a:cxn ang="0">
                  <a:pos x="546" y="1206"/>
                </a:cxn>
                <a:cxn ang="0">
                  <a:pos x="507" y="1238"/>
                </a:cxn>
                <a:cxn ang="0">
                  <a:pos x="467" y="1268"/>
                </a:cxn>
                <a:cxn ang="0">
                  <a:pos x="16" y="613"/>
                </a:cxn>
                <a:cxn ang="0">
                  <a:pos x="45" y="587"/>
                </a:cxn>
                <a:cxn ang="0">
                  <a:pos x="70" y="557"/>
                </a:cxn>
                <a:cxn ang="0">
                  <a:pos x="87" y="533"/>
                </a:cxn>
                <a:cxn ang="0">
                  <a:pos x="102" y="507"/>
                </a:cxn>
                <a:cxn ang="0">
                  <a:pos x="115" y="480"/>
                </a:cxn>
                <a:cxn ang="0">
                  <a:pos x="125" y="452"/>
                </a:cxn>
                <a:cxn ang="0">
                  <a:pos x="134" y="412"/>
                </a:cxn>
                <a:cxn ang="0">
                  <a:pos x="139" y="371"/>
                </a:cxn>
                <a:cxn ang="0">
                  <a:pos x="140" y="337"/>
                </a:cxn>
                <a:cxn ang="0">
                  <a:pos x="138" y="310"/>
                </a:cxn>
                <a:cxn ang="0">
                  <a:pos x="133" y="283"/>
                </a:cxn>
                <a:cxn ang="0">
                  <a:pos x="127" y="257"/>
                </a:cxn>
              </a:cxnLst>
              <a:rect l="0" t="0" r="r" b="b"/>
              <a:pathLst>
                <a:path w="935" h="1268">
                  <a:moveTo>
                    <a:pt x="123" y="245"/>
                  </a:moveTo>
                  <a:lnTo>
                    <a:pt x="879" y="0"/>
                  </a:lnTo>
                  <a:lnTo>
                    <a:pt x="888" y="26"/>
                  </a:lnTo>
                  <a:lnTo>
                    <a:pt x="895" y="53"/>
                  </a:lnTo>
                  <a:lnTo>
                    <a:pt x="902" y="80"/>
                  </a:lnTo>
                  <a:lnTo>
                    <a:pt x="909" y="107"/>
                  </a:lnTo>
                  <a:lnTo>
                    <a:pt x="914" y="134"/>
                  </a:lnTo>
                  <a:lnTo>
                    <a:pt x="919" y="162"/>
                  </a:lnTo>
                  <a:lnTo>
                    <a:pt x="923" y="189"/>
                  </a:lnTo>
                  <a:lnTo>
                    <a:pt x="927" y="217"/>
                  </a:lnTo>
                  <a:lnTo>
                    <a:pt x="930" y="244"/>
                  </a:lnTo>
                  <a:lnTo>
                    <a:pt x="932" y="272"/>
                  </a:lnTo>
                  <a:lnTo>
                    <a:pt x="934" y="300"/>
                  </a:lnTo>
                  <a:lnTo>
                    <a:pt x="935" y="328"/>
                  </a:lnTo>
                  <a:lnTo>
                    <a:pt x="935" y="356"/>
                  </a:lnTo>
                  <a:lnTo>
                    <a:pt x="934" y="383"/>
                  </a:lnTo>
                  <a:lnTo>
                    <a:pt x="933" y="411"/>
                  </a:lnTo>
                  <a:lnTo>
                    <a:pt x="931" y="439"/>
                  </a:lnTo>
                  <a:lnTo>
                    <a:pt x="929" y="467"/>
                  </a:lnTo>
                  <a:lnTo>
                    <a:pt x="926" y="494"/>
                  </a:lnTo>
                  <a:lnTo>
                    <a:pt x="922" y="522"/>
                  </a:lnTo>
                  <a:lnTo>
                    <a:pt x="917" y="549"/>
                  </a:lnTo>
                  <a:lnTo>
                    <a:pt x="915" y="563"/>
                  </a:lnTo>
                  <a:lnTo>
                    <a:pt x="912" y="577"/>
                  </a:lnTo>
                  <a:lnTo>
                    <a:pt x="906" y="604"/>
                  </a:lnTo>
                  <a:lnTo>
                    <a:pt x="900" y="631"/>
                  </a:lnTo>
                  <a:lnTo>
                    <a:pt x="893" y="658"/>
                  </a:lnTo>
                  <a:lnTo>
                    <a:pt x="885" y="684"/>
                  </a:lnTo>
                  <a:lnTo>
                    <a:pt x="876" y="711"/>
                  </a:lnTo>
                  <a:lnTo>
                    <a:pt x="867" y="737"/>
                  </a:lnTo>
                  <a:lnTo>
                    <a:pt x="857" y="763"/>
                  </a:lnTo>
                  <a:lnTo>
                    <a:pt x="847" y="789"/>
                  </a:lnTo>
                  <a:lnTo>
                    <a:pt x="836" y="815"/>
                  </a:lnTo>
                  <a:lnTo>
                    <a:pt x="824" y="840"/>
                  </a:lnTo>
                  <a:lnTo>
                    <a:pt x="811" y="865"/>
                  </a:lnTo>
                  <a:lnTo>
                    <a:pt x="796" y="894"/>
                  </a:lnTo>
                  <a:lnTo>
                    <a:pt x="788" y="909"/>
                  </a:lnTo>
                  <a:lnTo>
                    <a:pt x="779" y="924"/>
                  </a:lnTo>
                  <a:lnTo>
                    <a:pt x="762" y="953"/>
                  </a:lnTo>
                  <a:lnTo>
                    <a:pt x="744" y="981"/>
                  </a:lnTo>
                  <a:lnTo>
                    <a:pt x="725" y="1008"/>
                  </a:lnTo>
                  <a:lnTo>
                    <a:pt x="705" y="1035"/>
                  </a:lnTo>
                  <a:lnTo>
                    <a:pt x="695" y="1048"/>
                  </a:lnTo>
                  <a:lnTo>
                    <a:pt x="684" y="1062"/>
                  </a:lnTo>
                  <a:lnTo>
                    <a:pt x="663" y="1087"/>
                  </a:lnTo>
                  <a:lnTo>
                    <a:pt x="641" y="1112"/>
                  </a:lnTo>
                  <a:lnTo>
                    <a:pt x="618" y="1137"/>
                  </a:lnTo>
                  <a:lnTo>
                    <a:pt x="595" y="1160"/>
                  </a:lnTo>
                  <a:lnTo>
                    <a:pt x="571" y="1184"/>
                  </a:lnTo>
                  <a:lnTo>
                    <a:pt x="546" y="1206"/>
                  </a:lnTo>
                  <a:lnTo>
                    <a:pt x="520" y="1227"/>
                  </a:lnTo>
                  <a:lnTo>
                    <a:pt x="507" y="1238"/>
                  </a:lnTo>
                  <a:lnTo>
                    <a:pt x="494" y="1248"/>
                  </a:lnTo>
                  <a:lnTo>
                    <a:pt x="467" y="1268"/>
                  </a:lnTo>
                  <a:lnTo>
                    <a:pt x="0" y="625"/>
                  </a:lnTo>
                  <a:lnTo>
                    <a:pt x="16" y="613"/>
                  </a:lnTo>
                  <a:lnTo>
                    <a:pt x="30" y="600"/>
                  </a:lnTo>
                  <a:lnTo>
                    <a:pt x="45" y="587"/>
                  </a:lnTo>
                  <a:lnTo>
                    <a:pt x="58" y="572"/>
                  </a:lnTo>
                  <a:lnTo>
                    <a:pt x="70" y="557"/>
                  </a:lnTo>
                  <a:lnTo>
                    <a:pt x="82" y="541"/>
                  </a:lnTo>
                  <a:lnTo>
                    <a:pt x="87" y="533"/>
                  </a:lnTo>
                  <a:lnTo>
                    <a:pt x="92" y="524"/>
                  </a:lnTo>
                  <a:lnTo>
                    <a:pt x="102" y="507"/>
                  </a:lnTo>
                  <a:lnTo>
                    <a:pt x="111" y="489"/>
                  </a:lnTo>
                  <a:lnTo>
                    <a:pt x="115" y="480"/>
                  </a:lnTo>
                  <a:lnTo>
                    <a:pt x="118" y="471"/>
                  </a:lnTo>
                  <a:lnTo>
                    <a:pt x="125" y="452"/>
                  </a:lnTo>
                  <a:lnTo>
                    <a:pt x="130" y="432"/>
                  </a:lnTo>
                  <a:lnTo>
                    <a:pt x="134" y="412"/>
                  </a:lnTo>
                  <a:lnTo>
                    <a:pt x="138" y="392"/>
                  </a:lnTo>
                  <a:lnTo>
                    <a:pt x="139" y="371"/>
                  </a:lnTo>
                  <a:lnTo>
                    <a:pt x="140" y="350"/>
                  </a:lnTo>
                  <a:lnTo>
                    <a:pt x="140" y="337"/>
                  </a:lnTo>
                  <a:lnTo>
                    <a:pt x="139" y="323"/>
                  </a:lnTo>
                  <a:lnTo>
                    <a:pt x="138" y="310"/>
                  </a:lnTo>
                  <a:lnTo>
                    <a:pt x="136" y="296"/>
                  </a:lnTo>
                  <a:lnTo>
                    <a:pt x="133" y="283"/>
                  </a:lnTo>
                  <a:lnTo>
                    <a:pt x="131" y="270"/>
                  </a:lnTo>
                  <a:lnTo>
                    <a:pt x="127" y="257"/>
                  </a:lnTo>
                  <a:lnTo>
                    <a:pt x="123" y="24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63" name="Freeform 99"/>
            <p:cNvSpPr>
              <a:spLocks noChangeAspect="1"/>
            </p:cNvSpPr>
            <p:nvPr/>
          </p:nvSpPr>
          <p:spPr bwMode="auto">
            <a:xfrm>
              <a:off x="7332663" y="2784500"/>
              <a:ext cx="1092200" cy="704850"/>
            </a:xfrm>
            <a:custGeom>
              <a:avLst/>
              <a:gdLst/>
              <a:ahLst/>
              <a:cxnLst>
                <a:cxn ang="0">
                  <a:pos x="1334" y="643"/>
                </a:cxn>
                <a:cxn ang="0">
                  <a:pos x="1289" y="675"/>
                </a:cxn>
                <a:cxn ang="0">
                  <a:pos x="1241" y="704"/>
                </a:cxn>
                <a:cxn ang="0">
                  <a:pos x="1192" y="731"/>
                </a:cxn>
                <a:cxn ang="0">
                  <a:pos x="1142" y="756"/>
                </a:cxn>
                <a:cxn ang="0">
                  <a:pos x="1091" y="778"/>
                </a:cxn>
                <a:cxn ang="0">
                  <a:pos x="1038" y="797"/>
                </a:cxn>
                <a:cxn ang="0">
                  <a:pos x="985" y="814"/>
                </a:cxn>
                <a:cxn ang="0">
                  <a:pos x="932" y="828"/>
                </a:cxn>
                <a:cxn ang="0">
                  <a:pos x="877" y="840"/>
                </a:cxn>
                <a:cxn ang="0">
                  <a:pos x="822" y="849"/>
                </a:cxn>
                <a:cxn ang="0">
                  <a:pos x="767" y="856"/>
                </a:cxn>
                <a:cxn ang="0">
                  <a:pos x="712" y="859"/>
                </a:cxn>
                <a:cxn ang="0">
                  <a:pos x="656" y="860"/>
                </a:cxn>
                <a:cxn ang="0">
                  <a:pos x="600" y="858"/>
                </a:cxn>
                <a:cxn ang="0">
                  <a:pos x="545" y="853"/>
                </a:cxn>
                <a:cxn ang="0">
                  <a:pos x="490" y="846"/>
                </a:cxn>
                <a:cxn ang="0">
                  <a:pos x="424" y="833"/>
                </a:cxn>
                <a:cxn ang="0">
                  <a:pos x="359" y="817"/>
                </a:cxn>
                <a:cxn ang="0">
                  <a:pos x="296" y="797"/>
                </a:cxn>
                <a:cxn ang="0">
                  <a:pos x="233" y="773"/>
                </a:cxn>
                <a:cxn ang="0">
                  <a:pos x="172" y="746"/>
                </a:cxn>
                <a:cxn ang="0">
                  <a:pos x="142" y="731"/>
                </a:cxn>
                <a:cxn ang="0">
                  <a:pos x="83" y="698"/>
                </a:cxn>
                <a:cxn ang="0">
                  <a:pos x="27" y="662"/>
                </a:cxn>
                <a:cxn ang="0">
                  <a:pos x="467" y="0"/>
                </a:cxn>
                <a:cxn ang="0">
                  <a:pos x="489" y="15"/>
                </a:cxn>
                <a:cxn ang="0">
                  <a:pos x="523" y="34"/>
                </a:cxn>
                <a:cxn ang="0">
                  <a:pos x="547" y="44"/>
                </a:cxn>
                <a:cxn ang="0">
                  <a:pos x="573" y="52"/>
                </a:cxn>
                <a:cxn ang="0">
                  <a:pos x="599" y="59"/>
                </a:cxn>
                <a:cxn ang="0">
                  <a:pos x="626" y="63"/>
                </a:cxn>
                <a:cxn ang="0">
                  <a:pos x="653" y="65"/>
                </a:cxn>
                <a:cxn ang="0">
                  <a:pos x="681" y="65"/>
                </a:cxn>
                <a:cxn ang="0">
                  <a:pos x="708" y="63"/>
                </a:cxn>
                <a:cxn ang="0">
                  <a:pos x="735" y="59"/>
                </a:cxn>
                <a:cxn ang="0">
                  <a:pos x="761" y="52"/>
                </a:cxn>
                <a:cxn ang="0">
                  <a:pos x="780" y="46"/>
                </a:cxn>
                <a:cxn ang="0">
                  <a:pos x="799" y="39"/>
                </a:cxn>
                <a:cxn ang="0">
                  <a:pos x="823" y="28"/>
                </a:cxn>
                <a:cxn ang="0">
                  <a:pos x="845" y="15"/>
                </a:cxn>
                <a:cxn ang="0">
                  <a:pos x="867" y="0"/>
                </a:cxn>
              </a:cxnLst>
              <a:rect l="0" t="0" r="r" b="b"/>
              <a:pathLst>
                <a:path w="1334" h="860">
                  <a:moveTo>
                    <a:pt x="867" y="0"/>
                  </a:moveTo>
                  <a:lnTo>
                    <a:pt x="1334" y="643"/>
                  </a:lnTo>
                  <a:lnTo>
                    <a:pt x="1312" y="659"/>
                  </a:lnTo>
                  <a:lnTo>
                    <a:pt x="1289" y="675"/>
                  </a:lnTo>
                  <a:lnTo>
                    <a:pt x="1265" y="690"/>
                  </a:lnTo>
                  <a:lnTo>
                    <a:pt x="1241" y="704"/>
                  </a:lnTo>
                  <a:lnTo>
                    <a:pt x="1216" y="718"/>
                  </a:lnTo>
                  <a:lnTo>
                    <a:pt x="1192" y="731"/>
                  </a:lnTo>
                  <a:lnTo>
                    <a:pt x="1167" y="744"/>
                  </a:lnTo>
                  <a:lnTo>
                    <a:pt x="1142" y="756"/>
                  </a:lnTo>
                  <a:lnTo>
                    <a:pt x="1116" y="767"/>
                  </a:lnTo>
                  <a:lnTo>
                    <a:pt x="1091" y="778"/>
                  </a:lnTo>
                  <a:lnTo>
                    <a:pt x="1065" y="788"/>
                  </a:lnTo>
                  <a:lnTo>
                    <a:pt x="1038" y="797"/>
                  </a:lnTo>
                  <a:lnTo>
                    <a:pt x="1012" y="806"/>
                  </a:lnTo>
                  <a:lnTo>
                    <a:pt x="985" y="814"/>
                  </a:lnTo>
                  <a:lnTo>
                    <a:pt x="959" y="821"/>
                  </a:lnTo>
                  <a:lnTo>
                    <a:pt x="932" y="828"/>
                  </a:lnTo>
                  <a:lnTo>
                    <a:pt x="905" y="835"/>
                  </a:lnTo>
                  <a:lnTo>
                    <a:pt x="877" y="840"/>
                  </a:lnTo>
                  <a:lnTo>
                    <a:pt x="850" y="845"/>
                  </a:lnTo>
                  <a:lnTo>
                    <a:pt x="822" y="849"/>
                  </a:lnTo>
                  <a:lnTo>
                    <a:pt x="795" y="853"/>
                  </a:lnTo>
                  <a:lnTo>
                    <a:pt x="767" y="856"/>
                  </a:lnTo>
                  <a:lnTo>
                    <a:pt x="739" y="858"/>
                  </a:lnTo>
                  <a:lnTo>
                    <a:pt x="712" y="859"/>
                  </a:lnTo>
                  <a:lnTo>
                    <a:pt x="684" y="860"/>
                  </a:lnTo>
                  <a:lnTo>
                    <a:pt x="656" y="860"/>
                  </a:lnTo>
                  <a:lnTo>
                    <a:pt x="628" y="859"/>
                  </a:lnTo>
                  <a:lnTo>
                    <a:pt x="600" y="858"/>
                  </a:lnTo>
                  <a:lnTo>
                    <a:pt x="573" y="856"/>
                  </a:lnTo>
                  <a:lnTo>
                    <a:pt x="545" y="853"/>
                  </a:lnTo>
                  <a:lnTo>
                    <a:pt x="517" y="850"/>
                  </a:lnTo>
                  <a:lnTo>
                    <a:pt x="490" y="846"/>
                  </a:lnTo>
                  <a:lnTo>
                    <a:pt x="457" y="840"/>
                  </a:lnTo>
                  <a:lnTo>
                    <a:pt x="424" y="833"/>
                  </a:lnTo>
                  <a:lnTo>
                    <a:pt x="391" y="826"/>
                  </a:lnTo>
                  <a:lnTo>
                    <a:pt x="359" y="817"/>
                  </a:lnTo>
                  <a:lnTo>
                    <a:pt x="327" y="808"/>
                  </a:lnTo>
                  <a:lnTo>
                    <a:pt x="296" y="797"/>
                  </a:lnTo>
                  <a:lnTo>
                    <a:pt x="264" y="786"/>
                  </a:lnTo>
                  <a:lnTo>
                    <a:pt x="233" y="773"/>
                  </a:lnTo>
                  <a:lnTo>
                    <a:pt x="202" y="760"/>
                  </a:lnTo>
                  <a:lnTo>
                    <a:pt x="172" y="746"/>
                  </a:lnTo>
                  <a:lnTo>
                    <a:pt x="157" y="739"/>
                  </a:lnTo>
                  <a:lnTo>
                    <a:pt x="142" y="731"/>
                  </a:lnTo>
                  <a:lnTo>
                    <a:pt x="113" y="715"/>
                  </a:lnTo>
                  <a:lnTo>
                    <a:pt x="83" y="698"/>
                  </a:lnTo>
                  <a:lnTo>
                    <a:pt x="55" y="681"/>
                  </a:lnTo>
                  <a:lnTo>
                    <a:pt x="27" y="662"/>
                  </a:lnTo>
                  <a:lnTo>
                    <a:pt x="0" y="643"/>
                  </a:lnTo>
                  <a:lnTo>
                    <a:pt x="467" y="0"/>
                  </a:lnTo>
                  <a:lnTo>
                    <a:pt x="478" y="8"/>
                  </a:lnTo>
                  <a:lnTo>
                    <a:pt x="489" y="15"/>
                  </a:lnTo>
                  <a:lnTo>
                    <a:pt x="511" y="28"/>
                  </a:lnTo>
                  <a:lnTo>
                    <a:pt x="523" y="34"/>
                  </a:lnTo>
                  <a:lnTo>
                    <a:pt x="535" y="39"/>
                  </a:lnTo>
                  <a:lnTo>
                    <a:pt x="547" y="44"/>
                  </a:lnTo>
                  <a:lnTo>
                    <a:pt x="560" y="48"/>
                  </a:lnTo>
                  <a:lnTo>
                    <a:pt x="573" y="52"/>
                  </a:lnTo>
                  <a:lnTo>
                    <a:pt x="586" y="56"/>
                  </a:lnTo>
                  <a:lnTo>
                    <a:pt x="599" y="59"/>
                  </a:lnTo>
                  <a:lnTo>
                    <a:pt x="612" y="61"/>
                  </a:lnTo>
                  <a:lnTo>
                    <a:pt x="626" y="63"/>
                  </a:lnTo>
                  <a:lnTo>
                    <a:pt x="639" y="64"/>
                  </a:lnTo>
                  <a:lnTo>
                    <a:pt x="653" y="65"/>
                  </a:lnTo>
                  <a:lnTo>
                    <a:pt x="667" y="65"/>
                  </a:lnTo>
                  <a:lnTo>
                    <a:pt x="681" y="65"/>
                  </a:lnTo>
                  <a:lnTo>
                    <a:pt x="695" y="64"/>
                  </a:lnTo>
                  <a:lnTo>
                    <a:pt x="708" y="63"/>
                  </a:lnTo>
                  <a:lnTo>
                    <a:pt x="722" y="61"/>
                  </a:lnTo>
                  <a:lnTo>
                    <a:pt x="735" y="59"/>
                  </a:lnTo>
                  <a:lnTo>
                    <a:pt x="748" y="56"/>
                  </a:lnTo>
                  <a:lnTo>
                    <a:pt x="761" y="52"/>
                  </a:lnTo>
                  <a:lnTo>
                    <a:pt x="774" y="48"/>
                  </a:lnTo>
                  <a:lnTo>
                    <a:pt x="780" y="46"/>
                  </a:lnTo>
                  <a:lnTo>
                    <a:pt x="787" y="44"/>
                  </a:lnTo>
                  <a:lnTo>
                    <a:pt x="799" y="39"/>
                  </a:lnTo>
                  <a:lnTo>
                    <a:pt x="811" y="34"/>
                  </a:lnTo>
                  <a:lnTo>
                    <a:pt x="823" y="28"/>
                  </a:lnTo>
                  <a:lnTo>
                    <a:pt x="834" y="22"/>
                  </a:lnTo>
                  <a:lnTo>
                    <a:pt x="845" y="15"/>
                  </a:lnTo>
                  <a:lnTo>
                    <a:pt x="856" y="8"/>
                  </a:lnTo>
                  <a:lnTo>
                    <a:pt x="867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64" name="Freeform 100"/>
            <p:cNvSpPr>
              <a:spLocks noChangeAspect="1"/>
            </p:cNvSpPr>
            <p:nvPr/>
          </p:nvSpPr>
          <p:spPr bwMode="auto">
            <a:xfrm>
              <a:off x="6948488" y="2271738"/>
              <a:ext cx="766763" cy="1039813"/>
            </a:xfrm>
            <a:custGeom>
              <a:avLst/>
              <a:gdLst/>
              <a:ahLst/>
              <a:cxnLst>
                <a:cxn ang="0">
                  <a:pos x="468" y="1268"/>
                </a:cxn>
                <a:cxn ang="0">
                  <a:pos x="423" y="1234"/>
                </a:cxn>
                <a:cxn ang="0">
                  <a:pos x="381" y="1198"/>
                </a:cxn>
                <a:cxn ang="0">
                  <a:pos x="340" y="1160"/>
                </a:cxn>
                <a:cxn ang="0">
                  <a:pos x="320" y="1141"/>
                </a:cxn>
                <a:cxn ang="0">
                  <a:pos x="283" y="1100"/>
                </a:cxn>
                <a:cxn ang="0">
                  <a:pos x="247" y="1057"/>
                </a:cxn>
                <a:cxn ang="0">
                  <a:pos x="213" y="1013"/>
                </a:cxn>
                <a:cxn ang="0">
                  <a:pos x="182" y="967"/>
                </a:cxn>
                <a:cxn ang="0">
                  <a:pos x="153" y="919"/>
                </a:cxn>
                <a:cxn ang="0">
                  <a:pos x="126" y="870"/>
                </a:cxn>
                <a:cxn ang="0">
                  <a:pos x="102" y="820"/>
                </a:cxn>
                <a:cxn ang="0">
                  <a:pos x="80" y="769"/>
                </a:cxn>
                <a:cxn ang="0">
                  <a:pos x="60" y="716"/>
                </a:cxn>
                <a:cxn ang="0">
                  <a:pos x="44" y="663"/>
                </a:cxn>
                <a:cxn ang="0">
                  <a:pos x="30" y="609"/>
                </a:cxn>
                <a:cxn ang="0">
                  <a:pos x="19" y="555"/>
                </a:cxn>
                <a:cxn ang="0">
                  <a:pos x="9" y="494"/>
                </a:cxn>
                <a:cxn ang="0">
                  <a:pos x="6" y="461"/>
                </a:cxn>
                <a:cxn ang="0">
                  <a:pos x="1" y="395"/>
                </a:cxn>
                <a:cxn ang="0">
                  <a:pos x="0" y="361"/>
                </a:cxn>
                <a:cxn ang="0">
                  <a:pos x="1" y="311"/>
                </a:cxn>
                <a:cxn ang="0">
                  <a:pos x="4" y="261"/>
                </a:cxn>
                <a:cxn ang="0">
                  <a:pos x="11" y="195"/>
                </a:cxn>
                <a:cxn ang="0">
                  <a:pos x="19" y="145"/>
                </a:cxn>
                <a:cxn ang="0">
                  <a:pos x="29" y="96"/>
                </a:cxn>
                <a:cxn ang="0">
                  <a:pos x="46" y="32"/>
                </a:cxn>
                <a:cxn ang="0">
                  <a:pos x="811" y="245"/>
                </a:cxn>
                <a:cxn ang="0">
                  <a:pos x="804" y="270"/>
                </a:cxn>
                <a:cxn ang="0">
                  <a:pos x="799" y="296"/>
                </a:cxn>
                <a:cxn ang="0">
                  <a:pos x="796" y="323"/>
                </a:cxn>
                <a:cxn ang="0">
                  <a:pos x="795" y="350"/>
                </a:cxn>
                <a:cxn ang="0">
                  <a:pos x="796" y="382"/>
                </a:cxn>
                <a:cxn ang="0">
                  <a:pos x="800" y="412"/>
                </a:cxn>
                <a:cxn ang="0">
                  <a:pos x="807" y="442"/>
                </a:cxn>
                <a:cxn ang="0">
                  <a:pos x="817" y="471"/>
                </a:cxn>
                <a:cxn ang="0">
                  <a:pos x="829" y="498"/>
                </a:cxn>
                <a:cxn ang="0">
                  <a:pos x="838" y="516"/>
                </a:cxn>
                <a:cxn ang="0">
                  <a:pos x="853" y="541"/>
                </a:cxn>
                <a:cxn ang="0">
                  <a:pos x="877" y="572"/>
                </a:cxn>
                <a:cxn ang="0">
                  <a:pos x="904" y="600"/>
                </a:cxn>
                <a:cxn ang="0">
                  <a:pos x="927" y="619"/>
                </a:cxn>
              </a:cxnLst>
              <a:rect l="0" t="0" r="r" b="b"/>
              <a:pathLst>
                <a:path w="935" h="1268">
                  <a:moveTo>
                    <a:pt x="935" y="625"/>
                  </a:moveTo>
                  <a:lnTo>
                    <a:pt x="468" y="1268"/>
                  </a:lnTo>
                  <a:lnTo>
                    <a:pt x="445" y="1252"/>
                  </a:lnTo>
                  <a:lnTo>
                    <a:pt x="423" y="1234"/>
                  </a:lnTo>
                  <a:lnTo>
                    <a:pt x="402" y="1217"/>
                  </a:lnTo>
                  <a:lnTo>
                    <a:pt x="381" y="1198"/>
                  </a:lnTo>
                  <a:lnTo>
                    <a:pt x="360" y="1180"/>
                  </a:lnTo>
                  <a:lnTo>
                    <a:pt x="340" y="1160"/>
                  </a:lnTo>
                  <a:lnTo>
                    <a:pt x="330" y="1151"/>
                  </a:lnTo>
                  <a:lnTo>
                    <a:pt x="320" y="1141"/>
                  </a:lnTo>
                  <a:lnTo>
                    <a:pt x="301" y="1121"/>
                  </a:lnTo>
                  <a:lnTo>
                    <a:pt x="283" y="1100"/>
                  </a:lnTo>
                  <a:lnTo>
                    <a:pt x="265" y="1079"/>
                  </a:lnTo>
                  <a:lnTo>
                    <a:pt x="247" y="1057"/>
                  </a:lnTo>
                  <a:lnTo>
                    <a:pt x="230" y="1035"/>
                  </a:lnTo>
                  <a:lnTo>
                    <a:pt x="213" y="1013"/>
                  </a:lnTo>
                  <a:lnTo>
                    <a:pt x="197" y="990"/>
                  </a:lnTo>
                  <a:lnTo>
                    <a:pt x="182" y="967"/>
                  </a:lnTo>
                  <a:lnTo>
                    <a:pt x="167" y="943"/>
                  </a:lnTo>
                  <a:lnTo>
                    <a:pt x="153" y="919"/>
                  </a:lnTo>
                  <a:lnTo>
                    <a:pt x="139" y="894"/>
                  </a:lnTo>
                  <a:lnTo>
                    <a:pt x="126" y="870"/>
                  </a:lnTo>
                  <a:lnTo>
                    <a:pt x="114" y="845"/>
                  </a:lnTo>
                  <a:lnTo>
                    <a:pt x="102" y="820"/>
                  </a:lnTo>
                  <a:lnTo>
                    <a:pt x="90" y="794"/>
                  </a:lnTo>
                  <a:lnTo>
                    <a:pt x="80" y="769"/>
                  </a:lnTo>
                  <a:lnTo>
                    <a:pt x="70" y="743"/>
                  </a:lnTo>
                  <a:lnTo>
                    <a:pt x="60" y="716"/>
                  </a:lnTo>
                  <a:lnTo>
                    <a:pt x="52" y="690"/>
                  </a:lnTo>
                  <a:lnTo>
                    <a:pt x="44" y="663"/>
                  </a:lnTo>
                  <a:lnTo>
                    <a:pt x="36" y="637"/>
                  </a:lnTo>
                  <a:lnTo>
                    <a:pt x="30" y="609"/>
                  </a:lnTo>
                  <a:lnTo>
                    <a:pt x="24" y="582"/>
                  </a:lnTo>
                  <a:lnTo>
                    <a:pt x="19" y="555"/>
                  </a:lnTo>
                  <a:lnTo>
                    <a:pt x="14" y="527"/>
                  </a:lnTo>
                  <a:lnTo>
                    <a:pt x="9" y="494"/>
                  </a:lnTo>
                  <a:lnTo>
                    <a:pt x="7" y="478"/>
                  </a:lnTo>
                  <a:lnTo>
                    <a:pt x="6" y="461"/>
                  </a:lnTo>
                  <a:lnTo>
                    <a:pt x="3" y="428"/>
                  </a:lnTo>
                  <a:lnTo>
                    <a:pt x="1" y="395"/>
                  </a:lnTo>
                  <a:lnTo>
                    <a:pt x="0" y="378"/>
                  </a:lnTo>
                  <a:lnTo>
                    <a:pt x="0" y="361"/>
                  </a:lnTo>
                  <a:lnTo>
                    <a:pt x="0" y="328"/>
                  </a:lnTo>
                  <a:lnTo>
                    <a:pt x="1" y="311"/>
                  </a:lnTo>
                  <a:lnTo>
                    <a:pt x="1" y="294"/>
                  </a:lnTo>
                  <a:lnTo>
                    <a:pt x="4" y="261"/>
                  </a:lnTo>
                  <a:lnTo>
                    <a:pt x="7" y="228"/>
                  </a:lnTo>
                  <a:lnTo>
                    <a:pt x="11" y="195"/>
                  </a:lnTo>
                  <a:lnTo>
                    <a:pt x="16" y="162"/>
                  </a:lnTo>
                  <a:lnTo>
                    <a:pt x="19" y="145"/>
                  </a:lnTo>
                  <a:lnTo>
                    <a:pt x="22" y="129"/>
                  </a:lnTo>
                  <a:lnTo>
                    <a:pt x="29" y="96"/>
                  </a:lnTo>
                  <a:lnTo>
                    <a:pt x="37" y="64"/>
                  </a:lnTo>
                  <a:lnTo>
                    <a:pt x="46" y="32"/>
                  </a:lnTo>
                  <a:lnTo>
                    <a:pt x="56" y="0"/>
                  </a:lnTo>
                  <a:lnTo>
                    <a:pt x="811" y="245"/>
                  </a:lnTo>
                  <a:lnTo>
                    <a:pt x="808" y="257"/>
                  </a:lnTo>
                  <a:lnTo>
                    <a:pt x="804" y="270"/>
                  </a:lnTo>
                  <a:lnTo>
                    <a:pt x="801" y="283"/>
                  </a:lnTo>
                  <a:lnTo>
                    <a:pt x="799" y="296"/>
                  </a:lnTo>
                  <a:lnTo>
                    <a:pt x="797" y="310"/>
                  </a:lnTo>
                  <a:lnTo>
                    <a:pt x="796" y="323"/>
                  </a:lnTo>
                  <a:lnTo>
                    <a:pt x="795" y="337"/>
                  </a:lnTo>
                  <a:lnTo>
                    <a:pt x="795" y="350"/>
                  </a:lnTo>
                  <a:lnTo>
                    <a:pt x="795" y="371"/>
                  </a:lnTo>
                  <a:lnTo>
                    <a:pt x="796" y="382"/>
                  </a:lnTo>
                  <a:lnTo>
                    <a:pt x="797" y="392"/>
                  </a:lnTo>
                  <a:lnTo>
                    <a:pt x="800" y="412"/>
                  </a:lnTo>
                  <a:lnTo>
                    <a:pt x="805" y="432"/>
                  </a:lnTo>
                  <a:lnTo>
                    <a:pt x="807" y="442"/>
                  </a:lnTo>
                  <a:lnTo>
                    <a:pt x="810" y="452"/>
                  </a:lnTo>
                  <a:lnTo>
                    <a:pt x="817" y="471"/>
                  </a:lnTo>
                  <a:lnTo>
                    <a:pt x="824" y="489"/>
                  </a:lnTo>
                  <a:lnTo>
                    <a:pt x="829" y="498"/>
                  </a:lnTo>
                  <a:lnTo>
                    <a:pt x="833" y="507"/>
                  </a:lnTo>
                  <a:lnTo>
                    <a:pt x="838" y="516"/>
                  </a:lnTo>
                  <a:lnTo>
                    <a:pt x="843" y="524"/>
                  </a:lnTo>
                  <a:lnTo>
                    <a:pt x="853" y="541"/>
                  </a:lnTo>
                  <a:lnTo>
                    <a:pt x="865" y="557"/>
                  </a:lnTo>
                  <a:lnTo>
                    <a:pt x="877" y="572"/>
                  </a:lnTo>
                  <a:lnTo>
                    <a:pt x="890" y="587"/>
                  </a:lnTo>
                  <a:lnTo>
                    <a:pt x="904" y="600"/>
                  </a:lnTo>
                  <a:lnTo>
                    <a:pt x="919" y="613"/>
                  </a:lnTo>
                  <a:lnTo>
                    <a:pt x="927" y="619"/>
                  </a:lnTo>
                  <a:lnTo>
                    <a:pt x="935" y="62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65" name="Freeform 101"/>
            <p:cNvSpPr>
              <a:spLocks noChangeAspect="1"/>
            </p:cNvSpPr>
            <p:nvPr/>
          </p:nvSpPr>
          <p:spPr bwMode="auto">
            <a:xfrm>
              <a:off x="6994526" y="1628800"/>
              <a:ext cx="884238" cy="844550"/>
            </a:xfrm>
            <a:custGeom>
              <a:avLst/>
              <a:gdLst/>
              <a:ahLst/>
              <a:cxnLst>
                <a:cxn ang="0">
                  <a:pos x="0" y="785"/>
                </a:cxn>
                <a:cxn ang="0">
                  <a:pos x="18" y="732"/>
                </a:cxn>
                <a:cxn ang="0">
                  <a:pos x="39" y="681"/>
                </a:cxn>
                <a:cxn ang="0">
                  <a:pos x="63" y="630"/>
                </a:cxn>
                <a:cxn ang="0">
                  <a:pos x="89" y="581"/>
                </a:cxn>
                <a:cxn ang="0">
                  <a:pos x="117" y="532"/>
                </a:cxn>
                <a:cxn ang="0">
                  <a:pos x="140" y="497"/>
                </a:cxn>
                <a:cxn ang="0">
                  <a:pos x="164" y="463"/>
                </a:cxn>
                <a:cxn ang="0">
                  <a:pos x="198" y="419"/>
                </a:cxn>
                <a:cxn ang="0">
                  <a:pos x="234" y="377"/>
                </a:cxn>
                <a:cxn ang="0">
                  <a:pos x="272" y="336"/>
                </a:cxn>
                <a:cxn ang="0">
                  <a:pos x="312" y="298"/>
                </a:cxn>
                <a:cxn ang="0">
                  <a:pos x="354" y="261"/>
                </a:cxn>
                <a:cxn ang="0">
                  <a:pos x="398" y="227"/>
                </a:cxn>
                <a:cxn ang="0">
                  <a:pos x="443" y="194"/>
                </a:cxn>
                <a:cxn ang="0">
                  <a:pos x="490" y="164"/>
                </a:cxn>
                <a:cxn ang="0">
                  <a:pos x="540" y="137"/>
                </a:cxn>
                <a:cxn ang="0">
                  <a:pos x="594" y="109"/>
                </a:cxn>
                <a:cxn ang="0">
                  <a:pos x="656" y="82"/>
                </a:cxn>
                <a:cxn ang="0">
                  <a:pos x="687" y="70"/>
                </a:cxn>
                <a:cxn ang="0">
                  <a:pos x="750" y="49"/>
                </a:cxn>
                <a:cxn ang="0">
                  <a:pos x="814" y="32"/>
                </a:cxn>
                <a:cxn ang="0">
                  <a:pos x="863" y="21"/>
                </a:cxn>
                <a:cxn ang="0">
                  <a:pos x="913" y="13"/>
                </a:cxn>
                <a:cxn ang="0">
                  <a:pos x="979" y="5"/>
                </a:cxn>
                <a:cxn ang="0">
                  <a:pos x="1046" y="1"/>
                </a:cxn>
                <a:cxn ang="0">
                  <a:pos x="1079" y="795"/>
                </a:cxn>
                <a:cxn ang="0">
                  <a:pos x="1051" y="796"/>
                </a:cxn>
                <a:cxn ang="0">
                  <a:pos x="1024" y="800"/>
                </a:cxn>
                <a:cxn ang="0">
                  <a:pos x="997" y="805"/>
                </a:cxn>
                <a:cxn ang="0">
                  <a:pos x="971" y="813"/>
                </a:cxn>
                <a:cxn ang="0">
                  <a:pos x="946" y="822"/>
                </a:cxn>
                <a:cxn ang="0">
                  <a:pos x="922" y="833"/>
                </a:cxn>
                <a:cxn ang="0">
                  <a:pos x="899" y="847"/>
                </a:cxn>
                <a:cxn ang="0">
                  <a:pos x="877" y="861"/>
                </a:cxn>
                <a:cxn ang="0">
                  <a:pos x="857" y="878"/>
                </a:cxn>
                <a:cxn ang="0">
                  <a:pos x="838" y="896"/>
                </a:cxn>
                <a:cxn ang="0">
                  <a:pos x="820" y="915"/>
                </a:cxn>
                <a:cxn ang="0">
                  <a:pos x="804" y="936"/>
                </a:cxn>
                <a:cxn ang="0">
                  <a:pos x="789" y="958"/>
                </a:cxn>
                <a:cxn ang="0">
                  <a:pos x="776" y="981"/>
                </a:cxn>
                <a:cxn ang="0">
                  <a:pos x="768" y="999"/>
                </a:cxn>
                <a:cxn ang="0">
                  <a:pos x="760" y="1017"/>
                </a:cxn>
              </a:cxnLst>
              <a:rect l="0" t="0" r="r" b="b"/>
              <a:pathLst>
                <a:path w="1079" h="1030">
                  <a:moveTo>
                    <a:pt x="756" y="1030"/>
                  </a:moveTo>
                  <a:lnTo>
                    <a:pt x="0" y="785"/>
                  </a:lnTo>
                  <a:lnTo>
                    <a:pt x="9" y="758"/>
                  </a:lnTo>
                  <a:lnTo>
                    <a:pt x="18" y="732"/>
                  </a:lnTo>
                  <a:lnTo>
                    <a:pt x="28" y="706"/>
                  </a:lnTo>
                  <a:lnTo>
                    <a:pt x="39" y="681"/>
                  </a:lnTo>
                  <a:lnTo>
                    <a:pt x="51" y="655"/>
                  </a:lnTo>
                  <a:lnTo>
                    <a:pt x="63" y="630"/>
                  </a:lnTo>
                  <a:lnTo>
                    <a:pt x="76" y="606"/>
                  </a:lnTo>
                  <a:lnTo>
                    <a:pt x="89" y="581"/>
                  </a:lnTo>
                  <a:lnTo>
                    <a:pt x="103" y="556"/>
                  </a:lnTo>
                  <a:lnTo>
                    <a:pt x="117" y="532"/>
                  </a:lnTo>
                  <a:lnTo>
                    <a:pt x="132" y="509"/>
                  </a:lnTo>
                  <a:lnTo>
                    <a:pt x="140" y="497"/>
                  </a:lnTo>
                  <a:lnTo>
                    <a:pt x="148" y="486"/>
                  </a:lnTo>
                  <a:lnTo>
                    <a:pt x="164" y="463"/>
                  </a:lnTo>
                  <a:lnTo>
                    <a:pt x="181" y="441"/>
                  </a:lnTo>
                  <a:lnTo>
                    <a:pt x="198" y="419"/>
                  </a:lnTo>
                  <a:lnTo>
                    <a:pt x="216" y="398"/>
                  </a:lnTo>
                  <a:lnTo>
                    <a:pt x="234" y="377"/>
                  </a:lnTo>
                  <a:lnTo>
                    <a:pt x="253" y="356"/>
                  </a:lnTo>
                  <a:lnTo>
                    <a:pt x="272" y="336"/>
                  </a:lnTo>
                  <a:lnTo>
                    <a:pt x="292" y="317"/>
                  </a:lnTo>
                  <a:lnTo>
                    <a:pt x="312" y="298"/>
                  </a:lnTo>
                  <a:lnTo>
                    <a:pt x="333" y="279"/>
                  </a:lnTo>
                  <a:lnTo>
                    <a:pt x="354" y="261"/>
                  </a:lnTo>
                  <a:lnTo>
                    <a:pt x="376" y="244"/>
                  </a:lnTo>
                  <a:lnTo>
                    <a:pt x="398" y="227"/>
                  </a:lnTo>
                  <a:lnTo>
                    <a:pt x="420" y="210"/>
                  </a:lnTo>
                  <a:lnTo>
                    <a:pt x="443" y="194"/>
                  </a:lnTo>
                  <a:lnTo>
                    <a:pt x="467" y="179"/>
                  </a:lnTo>
                  <a:lnTo>
                    <a:pt x="490" y="164"/>
                  </a:lnTo>
                  <a:lnTo>
                    <a:pt x="515" y="150"/>
                  </a:lnTo>
                  <a:lnTo>
                    <a:pt x="540" y="137"/>
                  </a:lnTo>
                  <a:lnTo>
                    <a:pt x="564" y="124"/>
                  </a:lnTo>
                  <a:lnTo>
                    <a:pt x="594" y="109"/>
                  </a:lnTo>
                  <a:lnTo>
                    <a:pt x="625" y="95"/>
                  </a:lnTo>
                  <a:lnTo>
                    <a:pt x="656" y="82"/>
                  </a:lnTo>
                  <a:lnTo>
                    <a:pt x="671" y="76"/>
                  </a:lnTo>
                  <a:lnTo>
                    <a:pt x="687" y="70"/>
                  </a:lnTo>
                  <a:lnTo>
                    <a:pt x="718" y="59"/>
                  </a:lnTo>
                  <a:lnTo>
                    <a:pt x="750" y="49"/>
                  </a:lnTo>
                  <a:lnTo>
                    <a:pt x="782" y="40"/>
                  </a:lnTo>
                  <a:lnTo>
                    <a:pt x="814" y="32"/>
                  </a:lnTo>
                  <a:lnTo>
                    <a:pt x="847" y="24"/>
                  </a:lnTo>
                  <a:lnTo>
                    <a:pt x="863" y="21"/>
                  </a:lnTo>
                  <a:lnTo>
                    <a:pt x="880" y="18"/>
                  </a:lnTo>
                  <a:lnTo>
                    <a:pt x="913" y="13"/>
                  </a:lnTo>
                  <a:lnTo>
                    <a:pt x="946" y="8"/>
                  </a:lnTo>
                  <a:lnTo>
                    <a:pt x="979" y="5"/>
                  </a:lnTo>
                  <a:lnTo>
                    <a:pt x="1012" y="2"/>
                  </a:lnTo>
                  <a:lnTo>
                    <a:pt x="1046" y="1"/>
                  </a:lnTo>
                  <a:lnTo>
                    <a:pt x="1079" y="0"/>
                  </a:lnTo>
                  <a:lnTo>
                    <a:pt x="1079" y="795"/>
                  </a:lnTo>
                  <a:lnTo>
                    <a:pt x="1065" y="795"/>
                  </a:lnTo>
                  <a:lnTo>
                    <a:pt x="1051" y="796"/>
                  </a:lnTo>
                  <a:lnTo>
                    <a:pt x="1037" y="798"/>
                  </a:lnTo>
                  <a:lnTo>
                    <a:pt x="1024" y="800"/>
                  </a:lnTo>
                  <a:lnTo>
                    <a:pt x="1010" y="802"/>
                  </a:lnTo>
                  <a:lnTo>
                    <a:pt x="997" y="805"/>
                  </a:lnTo>
                  <a:lnTo>
                    <a:pt x="984" y="809"/>
                  </a:lnTo>
                  <a:lnTo>
                    <a:pt x="971" y="813"/>
                  </a:lnTo>
                  <a:lnTo>
                    <a:pt x="958" y="817"/>
                  </a:lnTo>
                  <a:lnTo>
                    <a:pt x="946" y="822"/>
                  </a:lnTo>
                  <a:lnTo>
                    <a:pt x="934" y="828"/>
                  </a:lnTo>
                  <a:lnTo>
                    <a:pt x="922" y="833"/>
                  </a:lnTo>
                  <a:lnTo>
                    <a:pt x="910" y="840"/>
                  </a:lnTo>
                  <a:lnTo>
                    <a:pt x="899" y="847"/>
                  </a:lnTo>
                  <a:lnTo>
                    <a:pt x="888" y="854"/>
                  </a:lnTo>
                  <a:lnTo>
                    <a:pt x="877" y="861"/>
                  </a:lnTo>
                  <a:lnTo>
                    <a:pt x="867" y="869"/>
                  </a:lnTo>
                  <a:lnTo>
                    <a:pt x="857" y="878"/>
                  </a:lnTo>
                  <a:lnTo>
                    <a:pt x="847" y="887"/>
                  </a:lnTo>
                  <a:lnTo>
                    <a:pt x="838" y="896"/>
                  </a:lnTo>
                  <a:lnTo>
                    <a:pt x="829" y="905"/>
                  </a:lnTo>
                  <a:lnTo>
                    <a:pt x="820" y="915"/>
                  </a:lnTo>
                  <a:lnTo>
                    <a:pt x="812" y="925"/>
                  </a:lnTo>
                  <a:lnTo>
                    <a:pt x="804" y="936"/>
                  </a:lnTo>
                  <a:lnTo>
                    <a:pt x="796" y="947"/>
                  </a:lnTo>
                  <a:lnTo>
                    <a:pt x="789" y="958"/>
                  </a:lnTo>
                  <a:lnTo>
                    <a:pt x="782" y="969"/>
                  </a:lnTo>
                  <a:lnTo>
                    <a:pt x="776" y="981"/>
                  </a:lnTo>
                  <a:lnTo>
                    <a:pt x="770" y="993"/>
                  </a:lnTo>
                  <a:lnTo>
                    <a:pt x="768" y="999"/>
                  </a:lnTo>
                  <a:lnTo>
                    <a:pt x="765" y="1005"/>
                  </a:lnTo>
                  <a:lnTo>
                    <a:pt x="760" y="1017"/>
                  </a:lnTo>
                  <a:lnTo>
                    <a:pt x="756" y="10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66" name="Text Box 102"/>
            <p:cNvSpPr txBox="1">
              <a:spLocks noChangeArrowheads="1"/>
            </p:cNvSpPr>
            <p:nvPr/>
          </p:nvSpPr>
          <p:spPr bwMode="auto">
            <a:xfrm>
              <a:off x="7231063" y="192407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67" name="Text Box 103"/>
            <p:cNvSpPr txBox="1">
              <a:spLocks noChangeArrowheads="1"/>
            </p:cNvSpPr>
            <p:nvPr/>
          </p:nvSpPr>
          <p:spPr bwMode="auto">
            <a:xfrm>
              <a:off x="7126288" y="266385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68" name="Text Box 104"/>
            <p:cNvSpPr txBox="1">
              <a:spLocks noChangeArrowheads="1"/>
            </p:cNvSpPr>
            <p:nvPr/>
          </p:nvSpPr>
          <p:spPr bwMode="auto">
            <a:xfrm>
              <a:off x="8115301" y="192407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69" name="Text Box 105"/>
            <p:cNvSpPr txBox="1">
              <a:spLocks noChangeArrowheads="1"/>
            </p:cNvSpPr>
            <p:nvPr/>
          </p:nvSpPr>
          <p:spPr bwMode="auto">
            <a:xfrm>
              <a:off x="7672388" y="300833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70" name="Text Box 106"/>
            <p:cNvSpPr txBox="1">
              <a:spLocks noChangeArrowheads="1"/>
            </p:cNvSpPr>
            <p:nvPr/>
          </p:nvSpPr>
          <p:spPr bwMode="auto">
            <a:xfrm>
              <a:off x="8220076" y="266385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650261" y="3934087"/>
            <a:ext cx="2015596" cy="1949213"/>
            <a:chOff x="1428750" y="4022750"/>
            <a:chExt cx="1860550" cy="1860550"/>
          </a:xfrm>
          <a:solidFill>
            <a:srgbClr val="7F7F7F"/>
          </a:solidFill>
        </p:grpSpPr>
        <p:sp>
          <p:nvSpPr>
            <p:cNvPr id="36972" name="Freeform 108"/>
            <p:cNvSpPr>
              <a:spLocks noChangeAspect="1"/>
            </p:cNvSpPr>
            <p:nvPr/>
          </p:nvSpPr>
          <p:spPr bwMode="auto">
            <a:xfrm>
              <a:off x="2359025" y="4022750"/>
              <a:ext cx="806450" cy="7905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6" y="2"/>
                </a:cxn>
                <a:cxn ang="0">
                  <a:pos x="111" y="6"/>
                </a:cxn>
                <a:cxn ang="0">
                  <a:pos x="166" y="12"/>
                </a:cxn>
                <a:cxn ang="0">
                  <a:pos x="221" y="22"/>
                </a:cxn>
                <a:cxn ang="0">
                  <a:pos x="275" y="34"/>
                </a:cxn>
                <a:cxn ang="0">
                  <a:pos x="329" y="49"/>
                </a:cxn>
                <a:cxn ang="0">
                  <a:pos x="382" y="67"/>
                </a:cxn>
                <a:cxn ang="0">
                  <a:pos x="408" y="76"/>
                </a:cxn>
                <a:cxn ang="0">
                  <a:pos x="459" y="98"/>
                </a:cxn>
                <a:cxn ang="0">
                  <a:pos x="510" y="121"/>
                </a:cxn>
                <a:cxn ang="0">
                  <a:pos x="559" y="147"/>
                </a:cxn>
                <a:cxn ang="0">
                  <a:pos x="608" y="176"/>
                </a:cxn>
                <a:cxn ang="0">
                  <a:pos x="654" y="207"/>
                </a:cxn>
                <a:cxn ang="0">
                  <a:pos x="699" y="240"/>
                </a:cxn>
                <a:cxn ang="0">
                  <a:pos x="742" y="275"/>
                </a:cxn>
                <a:cxn ang="0">
                  <a:pos x="773" y="303"/>
                </a:cxn>
                <a:cxn ang="0">
                  <a:pos x="803" y="332"/>
                </a:cxn>
                <a:cxn ang="0">
                  <a:pos x="853" y="387"/>
                </a:cxn>
                <a:cxn ang="0">
                  <a:pos x="877" y="415"/>
                </a:cxn>
                <a:cxn ang="0">
                  <a:pos x="911" y="459"/>
                </a:cxn>
                <a:cxn ang="0">
                  <a:pos x="933" y="489"/>
                </a:cxn>
                <a:cxn ang="0">
                  <a:pos x="964" y="535"/>
                </a:cxn>
                <a:cxn ang="0">
                  <a:pos x="983" y="568"/>
                </a:cxn>
                <a:cxn ang="0">
                  <a:pos x="283" y="946"/>
                </a:cxn>
                <a:cxn ang="0">
                  <a:pos x="270" y="928"/>
                </a:cxn>
                <a:cxn ang="0">
                  <a:pos x="249" y="903"/>
                </a:cxn>
                <a:cxn ang="0">
                  <a:pos x="234" y="888"/>
                </a:cxn>
                <a:cxn ang="0">
                  <a:pos x="209" y="867"/>
                </a:cxn>
                <a:cxn ang="0">
                  <a:pos x="172" y="842"/>
                </a:cxn>
                <a:cxn ang="0">
                  <a:pos x="153" y="831"/>
                </a:cxn>
                <a:cxn ang="0">
                  <a:pos x="133" y="822"/>
                </a:cxn>
                <a:cxn ang="0">
                  <a:pos x="112" y="814"/>
                </a:cxn>
                <a:cxn ang="0">
                  <a:pos x="91" y="807"/>
                </a:cxn>
                <a:cxn ang="0">
                  <a:pos x="69" y="802"/>
                </a:cxn>
                <a:cxn ang="0">
                  <a:pos x="35" y="797"/>
                </a:cxn>
                <a:cxn ang="0">
                  <a:pos x="0" y="795"/>
                </a:cxn>
              </a:cxnLst>
              <a:rect l="0" t="0" r="r" b="b"/>
              <a:pathLst>
                <a:path w="983" h="965">
                  <a:moveTo>
                    <a:pt x="0" y="795"/>
                  </a:moveTo>
                  <a:lnTo>
                    <a:pt x="0" y="0"/>
                  </a:lnTo>
                  <a:lnTo>
                    <a:pt x="28" y="1"/>
                  </a:lnTo>
                  <a:lnTo>
                    <a:pt x="56" y="2"/>
                  </a:lnTo>
                  <a:lnTo>
                    <a:pt x="83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6" y="12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8" y="28"/>
                  </a:lnTo>
                  <a:lnTo>
                    <a:pt x="275" y="34"/>
                  </a:lnTo>
                  <a:lnTo>
                    <a:pt x="302" y="41"/>
                  </a:lnTo>
                  <a:lnTo>
                    <a:pt x="329" y="49"/>
                  </a:lnTo>
                  <a:lnTo>
                    <a:pt x="356" y="58"/>
                  </a:lnTo>
                  <a:lnTo>
                    <a:pt x="382" y="67"/>
                  </a:lnTo>
                  <a:lnTo>
                    <a:pt x="395" y="71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59" y="98"/>
                  </a:lnTo>
                  <a:lnTo>
                    <a:pt x="485" y="109"/>
                  </a:lnTo>
                  <a:lnTo>
                    <a:pt x="510" y="121"/>
                  </a:lnTo>
                  <a:lnTo>
                    <a:pt x="534" y="134"/>
                  </a:lnTo>
                  <a:lnTo>
                    <a:pt x="559" y="147"/>
                  </a:lnTo>
                  <a:lnTo>
                    <a:pt x="584" y="161"/>
                  </a:lnTo>
                  <a:lnTo>
                    <a:pt x="608" y="176"/>
                  </a:lnTo>
                  <a:lnTo>
                    <a:pt x="631" y="191"/>
                  </a:lnTo>
                  <a:lnTo>
                    <a:pt x="654" y="207"/>
                  </a:lnTo>
                  <a:lnTo>
                    <a:pt x="676" y="223"/>
                  </a:lnTo>
                  <a:lnTo>
                    <a:pt x="699" y="240"/>
                  </a:lnTo>
                  <a:lnTo>
                    <a:pt x="720" y="257"/>
                  </a:lnTo>
                  <a:lnTo>
                    <a:pt x="742" y="275"/>
                  </a:lnTo>
                  <a:lnTo>
                    <a:pt x="762" y="294"/>
                  </a:lnTo>
                  <a:lnTo>
                    <a:pt x="773" y="303"/>
                  </a:lnTo>
                  <a:lnTo>
                    <a:pt x="783" y="313"/>
                  </a:lnTo>
                  <a:lnTo>
                    <a:pt x="803" y="332"/>
                  </a:lnTo>
                  <a:lnTo>
                    <a:pt x="828" y="359"/>
                  </a:lnTo>
                  <a:lnTo>
                    <a:pt x="853" y="387"/>
                  </a:lnTo>
                  <a:lnTo>
                    <a:pt x="865" y="401"/>
                  </a:lnTo>
                  <a:lnTo>
                    <a:pt x="877" y="415"/>
                  </a:lnTo>
                  <a:lnTo>
                    <a:pt x="900" y="444"/>
                  </a:lnTo>
                  <a:lnTo>
                    <a:pt x="911" y="459"/>
                  </a:lnTo>
                  <a:lnTo>
                    <a:pt x="922" y="474"/>
                  </a:lnTo>
                  <a:lnTo>
                    <a:pt x="933" y="489"/>
                  </a:lnTo>
                  <a:lnTo>
                    <a:pt x="943" y="504"/>
                  </a:lnTo>
                  <a:lnTo>
                    <a:pt x="964" y="535"/>
                  </a:lnTo>
                  <a:lnTo>
                    <a:pt x="973" y="551"/>
                  </a:lnTo>
                  <a:lnTo>
                    <a:pt x="983" y="568"/>
                  </a:lnTo>
                  <a:lnTo>
                    <a:pt x="295" y="965"/>
                  </a:lnTo>
                  <a:lnTo>
                    <a:pt x="283" y="946"/>
                  </a:lnTo>
                  <a:lnTo>
                    <a:pt x="277" y="937"/>
                  </a:lnTo>
                  <a:lnTo>
                    <a:pt x="270" y="928"/>
                  </a:lnTo>
                  <a:lnTo>
                    <a:pt x="256" y="912"/>
                  </a:lnTo>
                  <a:lnTo>
                    <a:pt x="249" y="903"/>
                  </a:lnTo>
                  <a:lnTo>
                    <a:pt x="241" y="896"/>
                  </a:lnTo>
                  <a:lnTo>
                    <a:pt x="234" y="888"/>
                  </a:lnTo>
                  <a:lnTo>
                    <a:pt x="226" y="881"/>
                  </a:lnTo>
                  <a:lnTo>
                    <a:pt x="209" y="867"/>
                  </a:lnTo>
                  <a:lnTo>
                    <a:pt x="191" y="854"/>
                  </a:lnTo>
                  <a:lnTo>
                    <a:pt x="172" y="842"/>
                  </a:lnTo>
                  <a:lnTo>
                    <a:pt x="163" y="836"/>
                  </a:lnTo>
                  <a:lnTo>
                    <a:pt x="153" y="831"/>
                  </a:lnTo>
                  <a:lnTo>
                    <a:pt x="143" y="826"/>
                  </a:lnTo>
                  <a:lnTo>
                    <a:pt x="133" y="822"/>
                  </a:lnTo>
                  <a:lnTo>
                    <a:pt x="123" y="818"/>
                  </a:lnTo>
                  <a:lnTo>
                    <a:pt x="112" y="814"/>
                  </a:lnTo>
                  <a:lnTo>
                    <a:pt x="102" y="810"/>
                  </a:lnTo>
                  <a:lnTo>
                    <a:pt x="91" y="807"/>
                  </a:lnTo>
                  <a:lnTo>
                    <a:pt x="80" y="804"/>
                  </a:lnTo>
                  <a:lnTo>
                    <a:pt x="69" y="802"/>
                  </a:lnTo>
                  <a:lnTo>
                    <a:pt x="46" y="798"/>
                  </a:lnTo>
                  <a:lnTo>
                    <a:pt x="35" y="797"/>
                  </a:lnTo>
                  <a:lnTo>
                    <a:pt x="23" y="796"/>
                  </a:lnTo>
                  <a:lnTo>
                    <a:pt x="0" y="7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3" name="Freeform 109"/>
            <p:cNvSpPr>
              <a:spLocks noChangeAspect="1"/>
            </p:cNvSpPr>
            <p:nvPr/>
          </p:nvSpPr>
          <p:spPr bwMode="auto">
            <a:xfrm>
              <a:off x="2600325" y="4487888"/>
              <a:ext cx="688975" cy="930275"/>
            </a:xfrm>
            <a:custGeom>
              <a:avLst/>
              <a:gdLst/>
              <a:ahLst/>
              <a:cxnLst>
                <a:cxn ang="0">
                  <a:pos x="688" y="0"/>
                </a:cxn>
                <a:cxn ang="0">
                  <a:pos x="714" y="49"/>
                </a:cxn>
                <a:cxn ang="0">
                  <a:pos x="739" y="99"/>
                </a:cxn>
                <a:cxn ang="0">
                  <a:pos x="760" y="150"/>
                </a:cxn>
                <a:cxn ang="0">
                  <a:pos x="779" y="203"/>
                </a:cxn>
                <a:cxn ang="0">
                  <a:pos x="796" y="256"/>
                </a:cxn>
                <a:cxn ang="0">
                  <a:pos x="810" y="310"/>
                </a:cxn>
                <a:cxn ang="0">
                  <a:pos x="821" y="364"/>
                </a:cxn>
                <a:cxn ang="0">
                  <a:pos x="830" y="419"/>
                </a:cxn>
                <a:cxn ang="0">
                  <a:pos x="836" y="474"/>
                </a:cxn>
                <a:cxn ang="0">
                  <a:pos x="839" y="530"/>
                </a:cxn>
                <a:cxn ang="0">
                  <a:pos x="840" y="586"/>
                </a:cxn>
                <a:cxn ang="0">
                  <a:pos x="838" y="641"/>
                </a:cxn>
                <a:cxn ang="0">
                  <a:pos x="833" y="697"/>
                </a:cxn>
                <a:cxn ang="0">
                  <a:pos x="825" y="752"/>
                </a:cxn>
                <a:cxn ang="0">
                  <a:pos x="814" y="806"/>
                </a:cxn>
                <a:cxn ang="0">
                  <a:pos x="801" y="861"/>
                </a:cxn>
                <a:cxn ang="0">
                  <a:pos x="791" y="896"/>
                </a:cxn>
                <a:cxn ang="0">
                  <a:pos x="767" y="967"/>
                </a:cxn>
                <a:cxn ang="0">
                  <a:pos x="753" y="1001"/>
                </a:cxn>
                <a:cxn ang="0">
                  <a:pos x="723" y="1069"/>
                </a:cxn>
                <a:cxn ang="0">
                  <a:pos x="706" y="1102"/>
                </a:cxn>
                <a:cxn ang="0">
                  <a:pos x="697" y="1118"/>
                </a:cxn>
                <a:cxn ang="0">
                  <a:pos x="0" y="737"/>
                </a:cxn>
                <a:cxn ang="0">
                  <a:pos x="15" y="708"/>
                </a:cxn>
                <a:cxn ang="0">
                  <a:pos x="23" y="688"/>
                </a:cxn>
                <a:cxn ang="0">
                  <a:pos x="30" y="667"/>
                </a:cxn>
                <a:cxn ang="0">
                  <a:pos x="36" y="646"/>
                </a:cxn>
                <a:cxn ang="0">
                  <a:pos x="40" y="624"/>
                </a:cxn>
                <a:cxn ang="0">
                  <a:pos x="43" y="602"/>
                </a:cxn>
                <a:cxn ang="0">
                  <a:pos x="45" y="579"/>
                </a:cxn>
                <a:cxn ang="0">
                  <a:pos x="45" y="556"/>
                </a:cxn>
                <a:cxn ang="0">
                  <a:pos x="42" y="521"/>
                </a:cxn>
                <a:cxn ang="0">
                  <a:pos x="33" y="478"/>
                </a:cxn>
                <a:cxn ang="0">
                  <a:pos x="27" y="456"/>
                </a:cxn>
                <a:cxn ang="0">
                  <a:pos x="15" y="426"/>
                </a:cxn>
                <a:cxn ang="0">
                  <a:pos x="0" y="397"/>
                </a:cxn>
              </a:cxnLst>
              <a:rect l="0" t="0" r="r" b="b"/>
              <a:pathLst>
                <a:path w="840" h="1134">
                  <a:moveTo>
                    <a:pt x="0" y="397"/>
                  </a:moveTo>
                  <a:lnTo>
                    <a:pt x="688" y="0"/>
                  </a:lnTo>
                  <a:lnTo>
                    <a:pt x="701" y="24"/>
                  </a:lnTo>
                  <a:lnTo>
                    <a:pt x="714" y="49"/>
                  </a:lnTo>
                  <a:lnTo>
                    <a:pt x="727" y="74"/>
                  </a:lnTo>
                  <a:lnTo>
                    <a:pt x="739" y="99"/>
                  </a:lnTo>
                  <a:lnTo>
                    <a:pt x="750" y="125"/>
                  </a:lnTo>
                  <a:lnTo>
                    <a:pt x="760" y="150"/>
                  </a:lnTo>
                  <a:lnTo>
                    <a:pt x="770" y="176"/>
                  </a:lnTo>
                  <a:lnTo>
                    <a:pt x="779" y="203"/>
                  </a:lnTo>
                  <a:lnTo>
                    <a:pt x="788" y="229"/>
                  </a:lnTo>
                  <a:lnTo>
                    <a:pt x="796" y="256"/>
                  </a:lnTo>
                  <a:lnTo>
                    <a:pt x="803" y="283"/>
                  </a:lnTo>
                  <a:lnTo>
                    <a:pt x="810" y="310"/>
                  </a:lnTo>
                  <a:lnTo>
                    <a:pt x="816" y="337"/>
                  </a:lnTo>
                  <a:lnTo>
                    <a:pt x="821" y="364"/>
                  </a:lnTo>
                  <a:lnTo>
                    <a:pt x="826" y="392"/>
                  </a:lnTo>
                  <a:lnTo>
                    <a:pt x="830" y="419"/>
                  </a:lnTo>
                  <a:lnTo>
                    <a:pt x="833" y="447"/>
                  </a:lnTo>
                  <a:lnTo>
                    <a:pt x="836" y="474"/>
                  </a:lnTo>
                  <a:lnTo>
                    <a:pt x="838" y="502"/>
                  </a:lnTo>
                  <a:lnTo>
                    <a:pt x="839" y="530"/>
                  </a:lnTo>
                  <a:lnTo>
                    <a:pt x="840" y="558"/>
                  </a:lnTo>
                  <a:lnTo>
                    <a:pt x="840" y="586"/>
                  </a:lnTo>
                  <a:lnTo>
                    <a:pt x="839" y="613"/>
                  </a:lnTo>
                  <a:lnTo>
                    <a:pt x="838" y="641"/>
                  </a:lnTo>
                  <a:lnTo>
                    <a:pt x="835" y="669"/>
                  </a:lnTo>
                  <a:lnTo>
                    <a:pt x="833" y="697"/>
                  </a:lnTo>
                  <a:lnTo>
                    <a:pt x="829" y="724"/>
                  </a:lnTo>
                  <a:lnTo>
                    <a:pt x="825" y="752"/>
                  </a:lnTo>
                  <a:lnTo>
                    <a:pt x="820" y="779"/>
                  </a:lnTo>
                  <a:lnTo>
                    <a:pt x="814" y="806"/>
                  </a:lnTo>
                  <a:lnTo>
                    <a:pt x="808" y="834"/>
                  </a:lnTo>
                  <a:lnTo>
                    <a:pt x="801" y="861"/>
                  </a:lnTo>
                  <a:lnTo>
                    <a:pt x="796" y="878"/>
                  </a:lnTo>
                  <a:lnTo>
                    <a:pt x="791" y="896"/>
                  </a:lnTo>
                  <a:lnTo>
                    <a:pt x="779" y="932"/>
                  </a:lnTo>
                  <a:lnTo>
                    <a:pt x="767" y="967"/>
                  </a:lnTo>
                  <a:lnTo>
                    <a:pt x="760" y="984"/>
                  </a:lnTo>
                  <a:lnTo>
                    <a:pt x="753" y="1001"/>
                  </a:lnTo>
                  <a:lnTo>
                    <a:pt x="738" y="1035"/>
                  </a:lnTo>
                  <a:lnTo>
                    <a:pt x="723" y="1069"/>
                  </a:lnTo>
                  <a:lnTo>
                    <a:pt x="714" y="1085"/>
                  </a:lnTo>
                  <a:lnTo>
                    <a:pt x="706" y="1102"/>
                  </a:lnTo>
                  <a:lnTo>
                    <a:pt x="701" y="1110"/>
                  </a:lnTo>
                  <a:lnTo>
                    <a:pt x="697" y="1118"/>
                  </a:lnTo>
                  <a:lnTo>
                    <a:pt x="688" y="1134"/>
                  </a:lnTo>
                  <a:lnTo>
                    <a:pt x="0" y="737"/>
                  </a:lnTo>
                  <a:lnTo>
                    <a:pt x="10" y="718"/>
                  </a:lnTo>
                  <a:lnTo>
                    <a:pt x="15" y="708"/>
                  </a:lnTo>
                  <a:lnTo>
                    <a:pt x="19" y="698"/>
                  </a:lnTo>
                  <a:lnTo>
                    <a:pt x="23" y="688"/>
                  </a:lnTo>
                  <a:lnTo>
                    <a:pt x="27" y="678"/>
                  </a:lnTo>
                  <a:lnTo>
                    <a:pt x="30" y="667"/>
                  </a:lnTo>
                  <a:lnTo>
                    <a:pt x="33" y="657"/>
                  </a:lnTo>
                  <a:lnTo>
                    <a:pt x="36" y="646"/>
                  </a:lnTo>
                  <a:lnTo>
                    <a:pt x="38" y="635"/>
                  </a:lnTo>
                  <a:lnTo>
                    <a:pt x="40" y="624"/>
                  </a:lnTo>
                  <a:lnTo>
                    <a:pt x="42" y="613"/>
                  </a:lnTo>
                  <a:lnTo>
                    <a:pt x="43" y="602"/>
                  </a:lnTo>
                  <a:lnTo>
                    <a:pt x="44" y="590"/>
                  </a:lnTo>
                  <a:lnTo>
                    <a:pt x="45" y="579"/>
                  </a:lnTo>
                  <a:lnTo>
                    <a:pt x="45" y="567"/>
                  </a:lnTo>
                  <a:lnTo>
                    <a:pt x="45" y="556"/>
                  </a:lnTo>
                  <a:lnTo>
                    <a:pt x="44" y="544"/>
                  </a:lnTo>
                  <a:lnTo>
                    <a:pt x="42" y="521"/>
                  </a:lnTo>
                  <a:lnTo>
                    <a:pt x="38" y="499"/>
                  </a:lnTo>
                  <a:lnTo>
                    <a:pt x="33" y="478"/>
                  </a:lnTo>
                  <a:lnTo>
                    <a:pt x="30" y="467"/>
                  </a:lnTo>
                  <a:lnTo>
                    <a:pt x="27" y="456"/>
                  </a:lnTo>
                  <a:lnTo>
                    <a:pt x="19" y="436"/>
                  </a:lnTo>
                  <a:lnTo>
                    <a:pt x="15" y="426"/>
                  </a:lnTo>
                  <a:lnTo>
                    <a:pt x="10" y="416"/>
                  </a:lnTo>
                  <a:lnTo>
                    <a:pt x="0" y="39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4" name="Freeform 110"/>
            <p:cNvSpPr>
              <a:spLocks noChangeAspect="1"/>
            </p:cNvSpPr>
            <p:nvPr/>
          </p:nvSpPr>
          <p:spPr bwMode="auto">
            <a:xfrm>
              <a:off x="2359025" y="5092725"/>
              <a:ext cx="806450" cy="790575"/>
            </a:xfrm>
            <a:custGeom>
              <a:avLst/>
              <a:gdLst/>
              <a:ahLst/>
              <a:cxnLst>
                <a:cxn ang="0">
                  <a:pos x="983" y="397"/>
                </a:cxn>
                <a:cxn ang="0">
                  <a:pos x="954" y="446"/>
                </a:cxn>
                <a:cxn ang="0">
                  <a:pos x="922" y="492"/>
                </a:cxn>
                <a:cxn ang="0">
                  <a:pos x="889" y="536"/>
                </a:cxn>
                <a:cxn ang="0">
                  <a:pos x="853" y="579"/>
                </a:cxn>
                <a:cxn ang="0">
                  <a:pos x="815" y="620"/>
                </a:cxn>
                <a:cxn ang="0">
                  <a:pos x="776" y="659"/>
                </a:cxn>
                <a:cxn ang="0">
                  <a:pos x="734" y="696"/>
                </a:cxn>
                <a:cxn ang="0">
                  <a:pos x="691" y="731"/>
                </a:cxn>
                <a:cxn ang="0">
                  <a:pos x="646" y="763"/>
                </a:cxn>
                <a:cxn ang="0">
                  <a:pos x="600" y="794"/>
                </a:cxn>
                <a:cxn ang="0">
                  <a:pos x="551" y="822"/>
                </a:cxn>
                <a:cxn ang="0">
                  <a:pos x="502" y="848"/>
                </a:cxn>
                <a:cxn ang="0">
                  <a:pos x="451" y="872"/>
                </a:cxn>
                <a:cxn ang="0">
                  <a:pos x="400" y="893"/>
                </a:cxn>
                <a:cxn ang="0">
                  <a:pos x="347" y="911"/>
                </a:cxn>
                <a:cxn ang="0">
                  <a:pos x="293" y="926"/>
                </a:cxn>
                <a:cxn ang="0">
                  <a:pos x="239" y="939"/>
                </a:cxn>
                <a:cxn ang="0">
                  <a:pos x="185" y="950"/>
                </a:cxn>
                <a:cxn ang="0">
                  <a:pos x="111" y="959"/>
                </a:cxn>
                <a:cxn ang="0">
                  <a:pos x="56" y="964"/>
                </a:cxn>
                <a:cxn ang="0">
                  <a:pos x="19" y="965"/>
                </a:cxn>
                <a:cxn ang="0">
                  <a:pos x="0" y="170"/>
                </a:cxn>
                <a:cxn ang="0">
                  <a:pos x="35" y="168"/>
                </a:cxn>
                <a:cxn ang="0">
                  <a:pos x="69" y="163"/>
                </a:cxn>
                <a:cxn ang="0">
                  <a:pos x="91" y="158"/>
                </a:cxn>
                <a:cxn ang="0">
                  <a:pos x="133" y="143"/>
                </a:cxn>
                <a:cxn ang="0">
                  <a:pos x="163" y="129"/>
                </a:cxn>
                <a:cxn ang="0">
                  <a:pos x="191" y="112"/>
                </a:cxn>
                <a:cxn ang="0">
                  <a:pos x="209" y="99"/>
                </a:cxn>
                <a:cxn ang="0">
                  <a:pos x="226" y="85"/>
                </a:cxn>
                <a:cxn ang="0">
                  <a:pos x="241" y="70"/>
                </a:cxn>
                <a:cxn ang="0">
                  <a:pos x="263" y="45"/>
                </a:cxn>
                <a:cxn ang="0">
                  <a:pos x="277" y="28"/>
                </a:cxn>
                <a:cxn ang="0">
                  <a:pos x="289" y="10"/>
                </a:cxn>
              </a:cxnLst>
              <a:rect l="0" t="0" r="r" b="b"/>
              <a:pathLst>
                <a:path w="983" h="965">
                  <a:moveTo>
                    <a:pt x="295" y="0"/>
                  </a:moveTo>
                  <a:lnTo>
                    <a:pt x="983" y="397"/>
                  </a:lnTo>
                  <a:lnTo>
                    <a:pt x="968" y="422"/>
                  </a:lnTo>
                  <a:lnTo>
                    <a:pt x="954" y="446"/>
                  </a:lnTo>
                  <a:lnTo>
                    <a:pt x="938" y="469"/>
                  </a:lnTo>
                  <a:lnTo>
                    <a:pt x="922" y="492"/>
                  </a:lnTo>
                  <a:lnTo>
                    <a:pt x="906" y="514"/>
                  </a:lnTo>
                  <a:lnTo>
                    <a:pt x="889" y="536"/>
                  </a:lnTo>
                  <a:lnTo>
                    <a:pt x="871" y="558"/>
                  </a:lnTo>
                  <a:lnTo>
                    <a:pt x="853" y="579"/>
                  </a:lnTo>
                  <a:lnTo>
                    <a:pt x="835" y="599"/>
                  </a:lnTo>
                  <a:lnTo>
                    <a:pt x="815" y="620"/>
                  </a:lnTo>
                  <a:lnTo>
                    <a:pt x="796" y="639"/>
                  </a:lnTo>
                  <a:lnTo>
                    <a:pt x="776" y="659"/>
                  </a:lnTo>
                  <a:lnTo>
                    <a:pt x="755" y="677"/>
                  </a:lnTo>
                  <a:lnTo>
                    <a:pt x="734" y="696"/>
                  </a:lnTo>
                  <a:lnTo>
                    <a:pt x="713" y="713"/>
                  </a:lnTo>
                  <a:lnTo>
                    <a:pt x="691" y="731"/>
                  </a:lnTo>
                  <a:lnTo>
                    <a:pt x="669" y="747"/>
                  </a:lnTo>
                  <a:lnTo>
                    <a:pt x="646" y="763"/>
                  </a:lnTo>
                  <a:lnTo>
                    <a:pt x="623" y="779"/>
                  </a:lnTo>
                  <a:lnTo>
                    <a:pt x="600" y="794"/>
                  </a:lnTo>
                  <a:lnTo>
                    <a:pt x="576" y="809"/>
                  </a:lnTo>
                  <a:lnTo>
                    <a:pt x="551" y="822"/>
                  </a:lnTo>
                  <a:lnTo>
                    <a:pt x="526" y="836"/>
                  </a:lnTo>
                  <a:lnTo>
                    <a:pt x="502" y="848"/>
                  </a:lnTo>
                  <a:lnTo>
                    <a:pt x="477" y="860"/>
                  </a:lnTo>
                  <a:lnTo>
                    <a:pt x="451" y="872"/>
                  </a:lnTo>
                  <a:lnTo>
                    <a:pt x="425" y="883"/>
                  </a:lnTo>
                  <a:lnTo>
                    <a:pt x="400" y="893"/>
                  </a:lnTo>
                  <a:lnTo>
                    <a:pt x="373" y="902"/>
                  </a:lnTo>
                  <a:lnTo>
                    <a:pt x="347" y="911"/>
                  </a:lnTo>
                  <a:lnTo>
                    <a:pt x="320" y="919"/>
                  </a:lnTo>
                  <a:lnTo>
                    <a:pt x="293" y="926"/>
                  </a:lnTo>
                  <a:lnTo>
                    <a:pt x="257" y="935"/>
                  </a:lnTo>
                  <a:lnTo>
                    <a:pt x="239" y="939"/>
                  </a:lnTo>
                  <a:lnTo>
                    <a:pt x="221" y="943"/>
                  </a:lnTo>
                  <a:lnTo>
                    <a:pt x="185" y="950"/>
                  </a:lnTo>
                  <a:lnTo>
                    <a:pt x="148" y="955"/>
                  </a:lnTo>
                  <a:lnTo>
                    <a:pt x="111" y="959"/>
                  </a:lnTo>
                  <a:lnTo>
                    <a:pt x="74" y="963"/>
                  </a:lnTo>
                  <a:lnTo>
                    <a:pt x="56" y="964"/>
                  </a:lnTo>
                  <a:lnTo>
                    <a:pt x="37" y="964"/>
                  </a:lnTo>
                  <a:lnTo>
                    <a:pt x="19" y="965"/>
                  </a:lnTo>
                  <a:lnTo>
                    <a:pt x="0" y="965"/>
                  </a:lnTo>
                  <a:lnTo>
                    <a:pt x="0" y="170"/>
                  </a:lnTo>
                  <a:lnTo>
                    <a:pt x="23" y="169"/>
                  </a:lnTo>
                  <a:lnTo>
                    <a:pt x="35" y="168"/>
                  </a:lnTo>
                  <a:lnTo>
                    <a:pt x="46" y="167"/>
                  </a:lnTo>
                  <a:lnTo>
                    <a:pt x="69" y="163"/>
                  </a:lnTo>
                  <a:lnTo>
                    <a:pt x="80" y="161"/>
                  </a:lnTo>
                  <a:lnTo>
                    <a:pt x="91" y="158"/>
                  </a:lnTo>
                  <a:lnTo>
                    <a:pt x="112" y="151"/>
                  </a:lnTo>
                  <a:lnTo>
                    <a:pt x="133" y="143"/>
                  </a:lnTo>
                  <a:lnTo>
                    <a:pt x="153" y="134"/>
                  </a:lnTo>
                  <a:lnTo>
                    <a:pt x="163" y="129"/>
                  </a:lnTo>
                  <a:lnTo>
                    <a:pt x="172" y="123"/>
                  </a:lnTo>
                  <a:lnTo>
                    <a:pt x="191" y="112"/>
                  </a:lnTo>
                  <a:lnTo>
                    <a:pt x="200" y="105"/>
                  </a:lnTo>
                  <a:lnTo>
                    <a:pt x="209" y="99"/>
                  </a:lnTo>
                  <a:lnTo>
                    <a:pt x="217" y="92"/>
                  </a:lnTo>
                  <a:lnTo>
                    <a:pt x="226" y="85"/>
                  </a:lnTo>
                  <a:lnTo>
                    <a:pt x="234" y="77"/>
                  </a:lnTo>
                  <a:lnTo>
                    <a:pt x="241" y="70"/>
                  </a:lnTo>
                  <a:lnTo>
                    <a:pt x="256" y="54"/>
                  </a:lnTo>
                  <a:lnTo>
                    <a:pt x="263" y="45"/>
                  </a:lnTo>
                  <a:lnTo>
                    <a:pt x="270" y="37"/>
                  </a:lnTo>
                  <a:lnTo>
                    <a:pt x="277" y="28"/>
                  </a:lnTo>
                  <a:lnTo>
                    <a:pt x="283" y="19"/>
                  </a:lnTo>
                  <a:lnTo>
                    <a:pt x="289" y="10"/>
                  </a:lnTo>
                  <a:lnTo>
                    <a:pt x="295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5" name="Freeform 111"/>
            <p:cNvSpPr>
              <a:spLocks noChangeAspect="1"/>
            </p:cNvSpPr>
            <p:nvPr/>
          </p:nvSpPr>
          <p:spPr bwMode="auto">
            <a:xfrm>
              <a:off x="1552575" y="5092725"/>
              <a:ext cx="806450" cy="790575"/>
            </a:xfrm>
            <a:custGeom>
              <a:avLst/>
              <a:gdLst/>
              <a:ahLst/>
              <a:cxnLst>
                <a:cxn ang="0">
                  <a:pos x="155" y="606"/>
                </a:cxn>
                <a:cxn ang="0">
                  <a:pos x="118" y="565"/>
                </a:cxn>
                <a:cxn ang="0">
                  <a:pos x="83" y="521"/>
                </a:cxn>
                <a:cxn ang="0">
                  <a:pos x="61" y="492"/>
                </a:cxn>
                <a:cxn ang="0">
                  <a:pos x="39" y="461"/>
                </a:cxn>
                <a:cxn ang="0">
                  <a:pos x="10" y="414"/>
                </a:cxn>
                <a:cxn ang="0">
                  <a:pos x="688" y="0"/>
                </a:cxn>
                <a:cxn ang="0">
                  <a:pos x="706" y="28"/>
                </a:cxn>
                <a:cxn ang="0">
                  <a:pos x="727" y="54"/>
                </a:cxn>
                <a:cxn ang="0">
                  <a:pos x="741" y="70"/>
                </a:cxn>
                <a:cxn ang="0">
                  <a:pos x="757" y="85"/>
                </a:cxn>
                <a:cxn ang="0">
                  <a:pos x="792" y="112"/>
                </a:cxn>
                <a:cxn ang="0">
                  <a:pos x="820" y="129"/>
                </a:cxn>
                <a:cxn ang="0">
                  <a:pos x="840" y="139"/>
                </a:cxn>
                <a:cxn ang="0">
                  <a:pos x="860" y="147"/>
                </a:cxn>
                <a:cxn ang="0">
                  <a:pos x="881" y="155"/>
                </a:cxn>
                <a:cxn ang="0">
                  <a:pos x="903" y="161"/>
                </a:cxn>
                <a:cxn ang="0">
                  <a:pos x="937" y="167"/>
                </a:cxn>
                <a:cxn ang="0">
                  <a:pos x="960" y="169"/>
                </a:cxn>
                <a:cxn ang="0">
                  <a:pos x="983" y="965"/>
                </a:cxn>
                <a:cxn ang="0">
                  <a:pos x="927" y="964"/>
                </a:cxn>
                <a:cxn ang="0">
                  <a:pos x="872" y="960"/>
                </a:cxn>
                <a:cxn ang="0">
                  <a:pos x="817" y="953"/>
                </a:cxn>
                <a:cxn ang="0">
                  <a:pos x="762" y="943"/>
                </a:cxn>
                <a:cxn ang="0">
                  <a:pos x="708" y="931"/>
                </a:cxn>
                <a:cxn ang="0">
                  <a:pos x="654" y="916"/>
                </a:cxn>
                <a:cxn ang="0">
                  <a:pos x="601" y="899"/>
                </a:cxn>
                <a:cxn ang="0">
                  <a:pos x="575" y="889"/>
                </a:cxn>
                <a:cxn ang="0">
                  <a:pos x="524" y="868"/>
                </a:cxn>
                <a:cxn ang="0">
                  <a:pos x="473" y="844"/>
                </a:cxn>
                <a:cxn ang="0">
                  <a:pos x="424" y="818"/>
                </a:cxn>
                <a:cxn ang="0">
                  <a:pos x="375" y="789"/>
                </a:cxn>
                <a:cxn ang="0">
                  <a:pos x="329" y="759"/>
                </a:cxn>
                <a:cxn ang="0">
                  <a:pos x="284" y="725"/>
                </a:cxn>
                <a:cxn ang="0">
                  <a:pos x="241" y="690"/>
                </a:cxn>
                <a:cxn ang="0">
                  <a:pos x="210" y="662"/>
                </a:cxn>
                <a:cxn ang="0">
                  <a:pos x="180" y="633"/>
                </a:cxn>
              </a:cxnLst>
              <a:rect l="0" t="0" r="r" b="b"/>
              <a:pathLst>
                <a:path w="983" h="965">
                  <a:moveTo>
                    <a:pt x="180" y="633"/>
                  </a:moveTo>
                  <a:lnTo>
                    <a:pt x="155" y="606"/>
                  </a:lnTo>
                  <a:lnTo>
                    <a:pt x="130" y="579"/>
                  </a:lnTo>
                  <a:lnTo>
                    <a:pt x="118" y="565"/>
                  </a:lnTo>
                  <a:lnTo>
                    <a:pt x="106" y="550"/>
                  </a:lnTo>
                  <a:lnTo>
                    <a:pt x="83" y="521"/>
                  </a:lnTo>
                  <a:lnTo>
                    <a:pt x="71" y="507"/>
                  </a:lnTo>
                  <a:lnTo>
                    <a:pt x="61" y="492"/>
                  </a:lnTo>
                  <a:lnTo>
                    <a:pt x="50" y="476"/>
                  </a:lnTo>
                  <a:lnTo>
                    <a:pt x="39" y="461"/>
                  </a:lnTo>
                  <a:lnTo>
                    <a:pt x="19" y="430"/>
                  </a:lnTo>
                  <a:lnTo>
                    <a:pt x="10" y="414"/>
                  </a:lnTo>
                  <a:lnTo>
                    <a:pt x="0" y="397"/>
                  </a:lnTo>
                  <a:lnTo>
                    <a:pt x="688" y="0"/>
                  </a:lnTo>
                  <a:lnTo>
                    <a:pt x="700" y="19"/>
                  </a:lnTo>
                  <a:lnTo>
                    <a:pt x="706" y="28"/>
                  </a:lnTo>
                  <a:lnTo>
                    <a:pt x="713" y="37"/>
                  </a:lnTo>
                  <a:lnTo>
                    <a:pt x="727" y="54"/>
                  </a:lnTo>
                  <a:lnTo>
                    <a:pt x="734" y="62"/>
                  </a:lnTo>
                  <a:lnTo>
                    <a:pt x="741" y="70"/>
                  </a:lnTo>
                  <a:lnTo>
                    <a:pt x="749" y="77"/>
                  </a:lnTo>
                  <a:lnTo>
                    <a:pt x="757" y="85"/>
                  </a:lnTo>
                  <a:lnTo>
                    <a:pt x="774" y="99"/>
                  </a:lnTo>
                  <a:lnTo>
                    <a:pt x="792" y="112"/>
                  </a:lnTo>
                  <a:lnTo>
                    <a:pt x="811" y="123"/>
                  </a:lnTo>
                  <a:lnTo>
                    <a:pt x="820" y="129"/>
                  </a:lnTo>
                  <a:lnTo>
                    <a:pt x="830" y="134"/>
                  </a:lnTo>
                  <a:lnTo>
                    <a:pt x="840" y="139"/>
                  </a:lnTo>
                  <a:lnTo>
                    <a:pt x="850" y="143"/>
                  </a:lnTo>
                  <a:lnTo>
                    <a:pt x="860" y="147"/>
                  </a:lnTo>
                  <a:lnTo>
                    <a:pt x="871" y="151"/>
                  </a:lnTo>
                  <a:lnTo>
                    <a:pt x="881" y="155"/>
                  </a:lnTo>
                  <a:lnTo>
                    <a:pt x="892" y="158"/>
                  </a:lnTo>
                  <a:lnTo>
                    <a:pt x="903" y="161"/>
                  </a:lnTo>
                  <a:lnTo>
                    <a:pt x="914" y="163"/>
                  </a:lnTo>
                  <a:lnTo>
                    <a:pt x="937" y="167"/>
                  </a:lnTo>
                  <a:lnTo>
                    <a:pt x="948" y="168"/>
                  </a:lnTo>
                  <a:lnTo>
                    <a:pt x="960" y="169"/>
                  </a:lnTo>
                  <a:lnTo>
                    <a:pt x="983" y="170"/>
                  </a:lnTo>
                  <a:lnTo>
                    <a:pt x="983" y="965"/>
                  </a:lnTo>
                  <a:lnTo>
                    <a:pt x="955" y="965"/>
                  </a:lnTo>
                  <a:lnTo>
                    <a:pt x="927" y="964"/>
                  </a:lnTo>
                  <a:lnTo>
                    <a:pt x="900" y="962"/>
                  </a:lnTo>
                  <a:lnTo>
                    <a:pt x="872" y="960"/>
                  </a:lnTo>
                  <a:lnTo>
                    <a:pt x="844" y="956"/>
                  </a:lnTo>
                  <a:lnTo>
                    <a:pt x="817" y="953"/>
                  </a:lnTo>
                  <a:lnTo>
                    <a:pt x="789" y="948"/>
                  </a:lnTo>
                  <a:lnTo>
                    <a:pt x="762" y="943"/>
                  </a:lnTo>
                  <a:lnTo>
                    <a:pt x="735" y="937"/>
                  </a:lnTo>
                  <a:lnTo>
                    <a:pt x="708" y="931"/>
                  </a:lnTo>
                  <a:lnTo>
                    <a:pt x="681" y="924"/>
                  </a:lnTo>
                  <a:lnTo>
                    <a:pt x="654" y="916"/>
                  </a:lnTo>
                  <a:lnTo>
                    <a:pt x="627" y="908"/>
                  </a:lnTo>
                  <a:lnTo>
                    <a:pt x="601" y="899"/>
                  </a:lnTo>
                  <a:lnTo>
                    <a:pt x="588" y="894"/>
                  </a:lnTo>
                  <a:lnTo>
                    <a:pt x="575" y="889"/>
                  </a:lnTo>
                  <a:lnTo>
                    <a:pt x="549" y="879"/>
                  </a:lnTo>
                  <a:lnTo>
                    <a:pt x="524" y="868"/>
                  </a:lnTo>
                  <a:lnTo>
                    <a:pt x="498" y="856"/>
                  </a:lnTo>
                  <a:lnTo>
                    <a:pt x="473" y="844"/>
                  </a:lnTo>
                  <a:lnTo>
                    <a:pt x="449" y="831"/>
                  </a:lnTo>
                  <a:lnTo>
                    <a:pt x="424" y="818"/>
                  </a:lnTo>
                  <a:lnTo>
                    <a:pt x="399" y="804"/>
                  </a:lnTo>
                  <a:lnTo>
                    <a:pt x="375" y="789"/>
                  </a:lnTo>
                  <a:lnTo>
                    <a:pt x="352" y="774"/>
                  </a:lnTo>
                  <a:lnTo>
                    <a:pt x="329" y="759"/>
                  </a:lnTo>
                  <a:lnTo>
                    <a:pt x="307" y="742"/>
                  </a:lnTo>
                  <a:lnTo>
                    <a:pt x="284" y="725"/>
                  </a:lnTo>
                  <a:lnTo>
                    <a:pt x="263" y="708"/>
                  </a:lnTo>
                  <a:lnTo>
                    <a:pt x="241" y="690"/>
                  </a:lnTo>
                  <a:lnTo>
                    <a:pt x="221" y="672"/>
                  </a:lnTo>
                  <a:lnTo>
                    <a:pt x="210" y="662"/>
                  </a:lnTo>
                  <a:lnTo>
                    <a:pt x="200" y="652"/>
                  </a:lnTo>
                  <a:lnTo>
                    <a:pt x="180" y="633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6" name="Freeform 112"/>
            <p:cNvSpPr>
              <a:spLocks noChangeAspect="1"/>
            </p:cNvSpPr>
            <p:nvPr/>
          </p:nvSpPr>
          <p:spPr bwMode="auto">
            <a:xfrm>
              <a:off x="1428750" y="4487888"/>
              <a:ext cx="688975" cy="930275"/>
            </a:xfrm>
            <a:custGeom>
              <a:avLst/>
              <a:gdLst/>
              <a:ahLst/>
              <a:cxnLst>
                <a:cxn ang="0">
                  <a:pos x="152" y="1134"/>
                </a:cxn>
                <a:cxn ang="0">
                  <a:pos x="126" y="1085"/>
                </a:cxn>
                <a:cxn ang="0">
                  <a:pos x="101" y="1035"/>
                </a:cxn>
                <a:cxn ang="0">
                  <a:pos x="80" y="984"/>
                </a:cxn>
                <a:cxn ang="0">
                  <a:pos x="61" y="932"/>
                </a:cxn>
                <a:cxn ang="0">
                  <a:pos x="44" y="878"/>
                </a:cxn>
                <a:cxn ang="0">
                  <a:pos x="30" y="825"/>
                </a:cxn>
                <a:cxn ang="0">
                  <a:pos x="19" y="770"/>
                </a:cxn>
                <a:cxn ang="0">
                  <a:pos x="10" y="715"/>
                </a:cxn>
                <a:cxn ang="0">
                  <a:pos x="4" y="660"/>
                </a:cxn>
                <a:cxn ang="0">
                  <a:pos x="1" y="604"/>
                </a:cxn>
                <a:cxn ang="0">
                  <a:pos x="0" y="549"/>
                </a:cxn>
                <a:cxn ang="0">
                  <a:pos x="2" y="493"/>
                </a:cxn>
                <a:cxn ang="0">
                  <a:pos x="7" y="438"/>
                </a:cxn>
                <a:cxn ang="0">
                  <a:pos x="15" y="382"/>
                </a:cxn>
                <a:cxn ang="0">
                  <a:pos x="26" y="328"/>
                </a:cxn>
                <a:cxn ang="0">
                  <a:pos x="39" y="274"/>
                </a:cxn>
                <a:cxn ang="0">
                  <a:pos x="49" y="238"/>
                </a:cxn>
                <a:cxn ang="0">
                  <a:pos x="73" y="168"/>
                </a:cxn>
                <a:cxn ang="0">
                  <a:pos x="87" y="133"/>
                </a:cxn>
                <a:cxn ang="0">
                  <a:pos x="117" y="66"/>
                </a:cxn>
                <a:cxn ang="0">
                  <a:pos x="134" y="33"/>
                </a:cxn>
                <a:cxn ang="0">
                  <a:pos x="143" y="16"/>
                </a:cxn>
                <a:cxn ang="0">
                  <a:pos x="840" y="397"/>
                </a:cxn>
                <a:cxn ang="0">
                  <a:pos x="825" y="426"/>
                </a:cxn>
                <a:cxn ang="0">
                  <a:pos x="817" y="446"/>
                </a:cxn>
                <a:cxn ang="0">
                  <a:pos x="810" y="467"/>
                </a:cxn>
                <a:cxn ang="0">
                  <a:pos x="804" y="488"/>
                </a:cxn>
                <a:cxn ang="0">
                  <a:pos x="800" y="510"/>
                </a:cxn>
                <a:cxn ang="0">
                  <a:pos x="797" y="533"/>
                </a:cxn>
                <a:cxn ang="0">
                  <a:pos x="795" y="556"/>
                </a:cxn>
                <a:cxn ang="0">
                  <a:pos x="795" y="579"/>
                </a:cxn>
                <a:cxn ang="0">
                  <a:pos x="798" y="613"/>
                </a:cxn>
                <a:cxn ang="0">
                  <a:pos x="807" y="657"/>
                </a:cxn>
                <a:cxn ang="0">
                  <a:pos x="813" y="678"/>
                </a:cxn>
                <a:cxn ang="0">
                  <a:pos x="825" y="708"/>
                </a:cxn>
                <a:cxn ang="0">
                  <a:pos x="840" y="737"/>
                </a:cxn>
              </a:cxnLst>
              <a:rect l="0" t="0" r="r" b="b"/>
              <a:pathLst>
                <a:path w="840" h="1134">
                  <a:moveTo>
                    <a:pt x="840" y="737"/>
                  </a:moveTo>
                  <a:lnTo>
                    <a:pt x="152" y="1134"/>
                  </a:lnTo>
                  <a:lnTo>
                    <a:pt x="139" y="1110"/>
                  </a:lnTo>
                  <a:lnTo>
                    <a:pt x="126" y="1085"/>
                  </a:lnTo>
                  <a:lnTo>
                    <a:pt x="113" y="1060"/>
                  </a:lnTo>
                  <a:lnTo>
                    <a:pt x="101" y="1035"/>
                  </a:lnTo>
                  <a:lnTo>
                    <a:pt x="90" y="1010"/>
                  </a:lnTo>
                  <a:lnTo>
                    <a:pt x="80" y="984"/>
                  </a:lnTo>
                  <a:lnTo>
                    <a:pt x="70" y="958"/>
                  </a:lnTo>
                  <a:lnTo>
                    <a:pt x="61" y="932"/>
                  </a:lnTo>
                  <a:lnTo>
                    <a:pt x="52" y="905"/>
                  </a:lnTo>
                  <a:lnTo>
                    <a:pt x="44" y="878"/>
                  </a:lnTo>
                  <a:lnTo>
                    <a:pt x="37" y="852"/>
                  </a:lnTo>
                  <a:lnTo>
                    <a:pt x="30" y="825"/>
                  </a:lnTo>
                  <a:lnTo>
                    <a:pt x="24" y="797"/>
                  </a:lnTo>
                  <a:lnTo>
                    <a:pt x="19" y="770"/>
                  </a:lnTo>
                  <a:lnTo>
                    <a:pt x="14" y="743"/>
                  </a:lnTo>
                  <a:lnTo>
                    <a:pt x="10" y="715"/>
                  </a:lnTo>
                  <a:lnTo>
                    <a:pt x="7" y="687"/>
                  </a:lnTo>
                  <a:lnTo>
                    <a:pt x="4" y="660"/>
                  </a:lnTo>
                  <a:lnTo>
                    <a:pt x="2" y="632"/>
                  </a:lnTo>
                  <a:lnTo>
                    <a:pt x="1" y="604"/>
                  </a:lnTo>
                  <a:lnTo>
                    <a:pt x="0" y="576"/>
                  </a:lnTo>
                  <a:lnTo>
                    <a:pt x="0" y="549"/>
                  </a:lnTo>
                  <a:lnTo>
                    <a:pt x="1" y="521"/>
                  </a:lnTo>
                  <a:lnTo>
                    <a:pt x="2" y="493"/>
                  </a:lnTo>
                  <a:lnTo>
                    <a:pt x="5" y="465"/>
                  </a:lnTo>
                  <a:lnTo>
                    <a:pt x="7" y="438"/>
                  </a:lnTo>
                  <a:lnTo>
                    <a:pt x="11" y="410"/>
                  </a:lnTo>
                  <a:lnTo>
                    <a:pt x="15" y="382"/>
                  </a:lnTo>
                  <a:lnTo>
                    <a:pt x="20" y="355"/>
                  </a:lnTo>
                  <a:lnTo>
                    <a:pt x="26" y="328"/>
                  </a:lnTo>
                  <a:lnTo>
                    <a:pt x="32" y="301"/>
                  </a:lnTo>
                  <a:lnTo>
                    <a:pt x="39" y="274"/>
                  </a:lnTo>
                  <a:lnTo>
                    <a:pt x="44" y="256"/>
                  </a:lnTo>
                  <a:lnTo>
                    <a:pt x="49" y="238"/>
                  </a:lnTo>
                  <a:lnTo>
                    <a:pt x="61" y="203"/>
                  </a:lnTo>
                  <a:lnTo>
                    <a:pt x="73" y="168"/>
                  </a:lnTo>
                  <a:lnTo>
                    <a:pt x="80" y="150"/>
                  </a:lnTo>
                  <a:lnTo>
                    <a:pt x="87" y="133"/>
                  </a:lnTo>
                  <a:lnTo>
                    <a:pt x="101" y="99"/>
                  </a:lnTo>
                  <a:lnTo>
                    <a:pt x="117" y="66"/>
                  </a:lnTo>
                  <a:lnTo>
                    <a:pt x="126" y="49"/>
                  </a:lnTo>
                  <a:lnTo>
                    <a:pt x="134" y="33"/>
                  </a:lnTo>
                  <a:lnTo>
                    <a:pt x="139" y="24"/>
                  </a:lnTo>
                  <a:lnTo>
                    <a:pt x="143" y="16"/>
                  </a:lnTo>
                  <a:lnTo>
                    <a:pt x="152" y="0"/>
                  </a:lnTo>
                  <a:lnTo>
                    <a:pt x="840" y="397"/>
                  </a:lnTo>
                  <a:lnTo>
                    <a:pt x="830" y="416"/>
                  </a:lnTo>
                  <a:lnTo>
                    <a:pt x="825" y="426"/>
                  </a:lnTo>
                  <a:lnTo>
                    <a:pt x="821" y="436"/>
                  </a:lnTo>
                  <a:lnTo>
                    <a:pt x="817" y="446"/>
                  </a:lnTo>
                  <a:lnTo>
                    <a:pt x="813" y="456"/>
                  </a:lnTo>
                  <a:lnTo>
                    <a:pt x="810" y="467"/>
                  </a:lnTo>
                  <a:lnTo>
                    <a:pt x="807" y="478"/>
                  </a:lnTo>
                  <a:lnTo>
                    <a:pt x="804" y="488"/>
                  </a:lnTo>
                  <a:lnTo>
                    <a:pt x="802" y="499"/>
                  </a:lnTo>
                  <a:lnTo>
                    <a:pt x="800" y="510"/>
                  </a:lnTo>
                  <a:lnTo>
                    <a:pt x="798" y="521"/>
                  </a:lnTo>
                  <a:lnTo>
                    <a:pt x="797" y="533"/>
                  </a:lnTo>
                  <a:lnTo>
                    <a:pt x="796" y="544"/>
                  </a:lnTo>
                  <a:lnTo>
                    <a:pt x="795" y="556"/>
                  </a:lnTo>
                  <a:lnTo>
                    <a:pt x="795" y="567"/>
                  </a:lnTo>
                  <a:lnTo>
                    <a:pt x="795" y="579"/>
                  </a:lnTo>
                  <a:lnTo>
                    <a:pt x="796" y="590"/>
                  </a:lnTo>
                  <a:lnTo>
                    <a:pt x="798" y="613"/>
                  </a:lnTo>
                  <a:lnTo>
                    <a:pt x="802" y="635"/>
                  </a:lnTo>
                  <a:lnTo>
                    <a:pt x="807" y="657"/>
                  </a:lnTo>
                  <a:lnTo>
                    <a:pt x="810" y="667"/>
                  </a:lnTo>
                  <a:lnTo>
                    <a:pt x="813" y="678"/>
                  </a:lnTo>
                  <a:lnTo>
                    <a:pt x="821" y="698"/>
                  </a:lnTo>
                  <a:lnTo>
                    <a:pt x="825" y="708"/>
                  </a:lnTo>
                  <a:lnTo>
                    <a:pt x="830" y="718"/>
                  </a:lnTo>
                  <a:lnTo>
                    <a:pt x="840" y="73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7" name="Freeform 113"/>
            <p:cNvSpPr>
              <a:spLocks noChangeAspect="1"/>
            </p:cNvSpPr>
            <p:nvPr/>
          </p:nvSpPr>
          <p:spPr bwMode="auto">
            <a:xfrm>
              <a:off x="1552575" y="4022750"/>
              <a:ext cx="806450" cy="790575"/>
            </a:xfrm>
            <a:custGeom>
              <a:avLst/>
              <a:gdLst/>
              <a:ahLst/>
              <a:cxnLst>
                <a:cxn ang="0">
                  <a:pos x="0" y="568"/>
                </a:cxn>
                <a:cxn ang="0">
                  <a:pos x="29" y="520"/>
                </a:cxn>
                <a:cxn ang="0">
                  <a:pos x="61" y="473"/>
                </a:cxn>
                <a:cxn ang="0">
                  <a:pos x="94" y="429"/>
                </a:cxn>
                <a:cxn ang="0">
                  <a:pos x="130" y="386"/>
                </a:cxn>
                <a:cxn ang="0">
                  <a:pos x="168" y="346"/>
                </a:cxn>
                <a:cxn ang="0">
                  <a:pos x="207" y="306"/>
                </a:cxn>
                <a:cxn ang="0">
                  <a:pos x="249" y="269"/>
                </a:cxn>
                <a:cxn ang="0">
                  <a:pos x="292" y="234"/>
                </a:cxn>
                <a:cxn ang="0">
                  <a:pos x="337" y="202"/>
                </a:cxn>
                <a:cxn ang="0">
                  <a:pos x="383" y="171"/>
                </a:cxn>
                <a:cxn ang="0">
                  <a:pos x="432" y="143"/>
                </a:cxn>
                <a:cxn ang="0">
                  <a:pos x="482" y="117"/>
                </a:cxn>
                <a:cxn ang="0">
                  <a:pos x="532" y="93"/>
                </a:cxn>
                <a:cxn ang="0">
                  <a:pos x="584" y="72"/>
                </a:cxn>
                <a:cxn ang="0">
                  <a:pos x="636" y="54"/>
                </a:cxn>
                <a:cxn ang="0">
                  <a:pos x="690" y="39"/>
                </a:cxn>
                <a:cxn ang="0">
                  <a:pos x="744" y="26"/>
                </a:cxn>
                <a:cxn ang="0">
                  <a:pos x="798" y="15"/>
                </a:cxn>
                <a:cxn ang="0">
                  <a:pos x="872" y="6"/>
                </a:cxn>
                <a:cxn ang="0">
                  <a:pos x="928" y="2"/>
                </a:cxn>
                <a:cxn ang="0">
                  <a:pos x="965" y="0"/>
                </a:cxn>
                <a:cxn ang="0">
                  <a:pos x="983" y="795"/>
                </a:cxn>
                <a:cxn ang="0">
                  <a:pos x="948" y="797"/>
                </a:cxn>
                <a:cxn ang="0">
                  <a:pos x="914" y="802"/>
                </a:cxn>
                <a:cxn ang="0">
                  <a:pos x="892" y="807"/>
                </a:cxn>
                <a:cxn ang="0">
                  <a:pos x="850" y="822"/>
                </a:cxn>
                <a:cxn ang="0">
                  <a:pos x="820" y="836"/>
                </a:cxn>
                <a:cxn ang="0">
                  <a:pos x="792" y="853"/>
                </a:cxn>
                <a:cxn ang="0">
                  <a:pos x="774" y="866"/>
                </a:cxn>
                <a:cxn ang="0">
                  <a:pos x="758" y="880"/>
                </a:cxn>
                <a:cxn ang="0">
                  <a:pos x="742" y="895"/>
                </a:cxn>
                <a:cxn ang="0">
                  <a:pos x="720" y="920"/>
                </a:cxn>
                <a:cxn ang="0">
                  <a:pos x="706" y="937"/>
                </a:cxn>
                <a:cxn ang="0">
                  <a:pos x="694" y="955"/>
                </a:cxn>
              </a:cxnLst>
              <a:rect l="0" t="0" r="r" b="b"/>
              <a:pathLst>
                <a:path w="983" h="965">
                  <a:moveTo>
                    <a:pt x="689" y="965"/>
                  </a:moveTo>
                  <a:lnTo>
                    <a:pt x="0" y="568"/>
                  </a:lnTo>
                  <a:lnTo>
                    <a:pt x="15" y="543"/>
                  </a:lnTo>
                  <a:lnTo>
                    <a:pt x="29" y="520"/>
                  </a:lnTo>
                  <a:lnTo>
                    <a:pt x="45" y="496"/>
                  </a:lnTo>
                  <a:lnTo>
                    <a:pt x="61" y="473"/>
                  </a:lnTo>
                  <a:lnTo>
                    <a:pt x="77" y="451"/>
                  </a:lnTo>
                  <a:lnTo>
                    <a:pt x="94" y="429"/>
                  </a:lnTo>
                  <a:lnTo>
                    <a:pt x="112" y="408"/>
                  </a:lnTo>
                  <a:lnTo>
                    <a:pt x="130" y="386"/>
                  </a:lnTo>
                  <a:lnTo>
                    <a:pt x="148" y="366"/>
                  </a:lnTo>
                  <a:lnTo>
                    <a:pt x="168" y="346"/>
                  </a:lnTo>
                  <a:lnTo>
                    <a:pt x="187" y="326"/>
                  </a:lnTo>
                  <a:lnTo>
                    <a:pt x="207" y="306"/>
                  </a:lnTo>
                  <a:lnTo>
                    <a:pt x="228" y="288"/>
                  </a:lnTo>
                  <a:lnTo>
                    <a:pt x="249" y="269"/>
                  </a:lnTo>
                  <a:lnTo>
                    <a:pt x="270" y="252"/>
                  </a:lnTo>
                  <a:lnTo>
                    <a:pt x="292" y="234"/>
                  </a:lnTo>
                  <a:lnTo>
                    <a:pt x="314" y="218"/>
                  </a:lnTo>
                  <a:lnTo>
                    <a:pt x="337" y="202"/>
                  </a:lnTo>
                  <a:lnTo>
                    <a:pt x="360" y="186"/>
                  </a:lnTo>
                  <a:lnTo>
                    <a:pt x="383" y="171"/>
                  </a:lnTo>
                  <a:lnTo>
                    <a:pt x="407" y="157"/>
                  </a:lnTo>
                  <a:lnTo>
                    <a:pt x="432" y="143"/>
                  </a:lnTo>
                  <a:lnTo>
                    <a:pt x="457" y="129"/>
                  </a:lnTo>
                  <a:lnTo>
                    <a:pt x="482" y="117"/>
                  </a:lnTo>
                  <a:lnTo>
                    <a:pt x="507" y="105"/>
                  </a:lnTo>
                  <a:lnTo>
                    <a:pt x="532" y="93"/>
                  </a:lnTo>
                  <a:lnTo>
                    <a:pt x="558" y="83"/>
                  </a:lnTo>
                  <a:lnTo>
                    <a:pt x="584" y="72"/>
                  </a:lnTo>
                  <a:lnTo>
                    <a:pt x="610" y="63"/>
                  </a:lnTo>
                  <a:lnTo>
                    <a:pt x="636" y="54"/>
                  </a:lnTo>
                  <a:lnTo>
                    <a:pt x="663" y="46"/>
                  </a:lnTo>
                  <a:lnTo>
                    <a:pt x="690" y="39"/>
                  </a:lnTo>
                  <a:lnTo>
                    <a:pt x="726" y="30"/>
                  </a:lnTo>
                  <a:lnTo>
                    <a:pt x="744" y="26"/>
                  </a:lnTo>
                  <a:lnTo>
                    <a:pt x="762" y="22"/>
                  </a:lnTo>
                  <a:lnTo>
                    <a:pt x="798" y="15"/>
                  </a:lnTo>
                  <a:lnTo>
                    <a:pt x="835" y="10"/>
                  </a:lnTo>
                  <a:lnTo>
                    <a:pt x="872" y="6"/>
                  </a:lnTo>
                  <a:lnTo>
                    <a:pt x="909" y="3"/>
                  </a:lnTo>
                  <a:lnTo>
                    <a:pt x="928" y="2"/>
                  </a:lnTo>
                  <a:lnTo>
                    <a:pt x="946" y="1"/>
                  </a:lnTo>
                  <a:lnTo>
                    <a:pt x="965" y="0"/>
                  </a:lnTo>
                  <a:lnTo>
                    <a:pt x="983" y="0"/>
                  </a:lnTo>
                  <a:lnTo>
                    <a:pt x="983" y="795"/>
                  </a:lnTo>
                  <a:lnTo>
                    <a:pt x="960" y="796"/>
                  </a:lnTo>
                  <a:lnTo>
                    <a:pt x="948" y="797"/>
                  </a:lnTo>
                  <a:lnTo>
                    <a:pt x="937" y="798"/>
                  </a:lnTo>
                  <a:lnTo>
                    <a:pt x="914" y="802"/>
                  </a:lnTo>
                  <a:lnTo>
                    <a:pt x="903" y="804"/>
                  </a:lnTo>
                  <a:lnTo>
                    <a:pt x="892" y="807"/>
                  </a:lnTo>
                  <a:lnTo>
                    <a:pt x="871" y="814"/>
                  </a:lnTo>
                  <a:lnTo>
                    <a:pt x="850" y="822"/>
                  </a:lnTo>
                  <a:lnTo>
                    <a:pt x="830" y="831"/>
                  </a:lnTo>
                  <a:lnTo>
                    <a:pt x="820" y="836"/>
                  </a:lnTo>
                  <a:lnTo>
                    <a:pt x="811" y="842"/>
                  </a:lnTo>
                  <a:lnTo>
                    <a:pt x="792" y="853"/>
                  </a:lnTo>
                  <a:lnTo>
                    <a:pt x="783" y="860"/>
                  </a:lnTo>
                  <a:lnTo>
                    <a:pt x="774" y="866"/>
                  </a:lnTo>
                  <a:lnTo>
                    <a:pt x="766" y="873"/>
                  </a:lnTo>
                  <a:lnTo>
                    <a:pt x="758" y="880"/>
                  </a:lnTo>
                  <a:lnTo>
                    <a:pt x="750" y="888"/>
                  </a:lnTo>
                  <a:lnTo>
                    <a:pt x="742" y="895"/>
                  </a:lnTo>
                  <a:lnTo>
                    <a:pt x="727" y="911"/>
                  </a:lnTo>
                  <a:lnTo>
                    <a:pt x="720" y="920"/>
                  </a:lnTo>
                  <a:lnTo>
                    <a:pt x="713" y="928"/>
                  </a:lnTo>
                  <a:lnTo>
                    <a:pt x="706" y="937"/>
                  </a:lnTo>
                  <a:lnTo>
                    <a:pt x="700" y="946"/>
                  </a:lnTo>
                  <a:lnTo>
                    <a:pt x="694" y="955"/>
                  </a:lnTo>
                  <a:lnTo>
                    <a:pt x="689" y="96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78" name="Text Box 114"/>
            <p:cNvSpPr txBox="1">
              <a:spLocks noChangeArrowheads="1"/>
            </p:cNvSpPr>
            <p:nvPr/>
          </p:nvSpPr>
          <p:spPr bwMode="auto">
            <a:xfrm>
              <a:off x="2738438" y="482443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79" name="Text Box 115"/>
            <p:cNvSpPr txBox="1">
              <a:spLocks noChangeArrowheads="1"/>
            </p:cNvSpPr>
            <p:nvPr/>
          </p:nvSpPr>
          <p:spPr bwMode="auto">
            <a:xfrm>
              <a:off x="2555875" y="535942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80" name="Text Box 116"/>
            <p:cNvSpPr txBox="1">
              <a:spLocks noChangeArrowheads="1"/>
            </p:cNvSpPr>
            <p:nvPr/>
          </p:nvSpPr>
          <p:spPr bwMode="auto">
            <a:xfrm>
              <a:off x="1751013" y="535942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81" name="Text Box 117"/>
            <p:cNvSpPr txBox="1">
              <a:spLocks noChangeArrowheads="1"/>
            </p:cNvSpPr>
            <p:nvPr/>
          </p:nvSpPr>
          <p:spPr bwMode="auto">
            <a:xfrm>
              <a:off x="1566863" y="482443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82" name="Text Box 118"/>
            <p:cNvSpPr txBox="1">
              <a:spLocks noChangeArrowheads="1"/>
            </p:cNvSpPr>
            <p:nvPr/>
          </p:nvSpPr>
          <p:spPr bwMode="auto">
            <a:xfrm>
              <a:off x="2555875" y="429103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83" name="Text Box 119"/>
            <p:cNvSpPr txBox="1">
              <a:spLocks noChangeArrowheads="1"/>
            </p:cNvSpPr>
            <p:nvPr/>
          </p:nvSpPr>
          <p:spPr bwMode="auto">
            <a:xfrm>
              <a:off x="1751013" y="429103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794761" y="1540137"/>
            <a:ext cx="2015596" cy="1949213"/>
            <a:chOff x="2532063" y="1628800"/>
            <a:chExt cx="1860550" cy="1860550"/>
          </a:xfrm>
        </p:grpSpPr>
        <p:sp>
          <p:nvSpPr>
            <p:cNvPr id="36985" name="Freeform 121"/>
            <p:cNvSpPr>
              <a:spLocks noChangeAspect="1"/>
            </p:cNvSpPr>
            <p:nvPr/>
          </p:nvSpPr>
          <p:spPr bwMode="auto">
            <a:xfrm>
              <a:off x="3462338" y="1628800"/>
              <a:ext cx="930275" cy="1395413"/>
            </a:xfrm>
            <a:custGeom>
              <a:avLst/>
              <a:gdLst/>
              <a:ahLst/>
              <a:cxnLst>
                <a:cxn ang="0">
                  <a:pos x="28" y="1"/>
                </a:cxn>
                <a:cxn ang="0">
                  <a:pos x="111" y="6"/>
                </a:cxn>
                <a:cxn ang="0">
                  <a:pos x="194" y="17"/>
                </a:cxn>
                <a:cxn ang="0">
                  <a:pos x="275" y="34"/>
                </a:cxn>
                <a:cxn ang="0">
                  <a:pos x="356" y="58"/>
                </a:cxn>
                <a:cxn ang="0">
                  <a:pos x="408" y="76"/>
                </a:cxn>
                <a:cxn ang="0">
                  <a:pos x="485" y="109"/>
                </a:cxn>
                <a:cxn ang="0">
                  <a:pos x="559" y="148"/>
                </a:cxn>
                <a:cxn ang="0">
                  <a:pos x="631" y="191"/>
                </a:cxn>
                <a:cxn ang="0">
                  <a:pos x="699" y="240"/>
                </a:cxn>
                <a:cxn ang="0">
                  <a:pos x="762" y="294"/>
                </a:cxn>
                <a:cxn ang="0">
                  <a:pos x="803" y="333"/>
                </a:cxn>
                <a:cxn ang="0">
                  <a:pos x="860" y="394"/>
                </a:cxn>
                <a:cxn ang="0">
                  <a:pos x="912" y="459"/>
                </a:cxn>
                <a:cxn ang="0">
                  <a:pos x="959" y="528"/>
                </a:cxn>
                <a:cxn ang="0">
                  <a:pos x="1001" y="601"/>
                </a:cxn>
                <a:cxn ang="0">
                  <a:pos x="1037" y="676"/>
                </a:cxn>
                <a:cxn ang="0">
                  <a:pos x="1068" y="753"/>
                </a:cxn>
                <a:cxn ang="0">
                  <a:pos x="1094" y="833"/>
                </a:cxn>
                <a:cxn ang="0">
                  <a:pos x="1113" y="914"/>
                </a:cxn>
                <a:cxn ang="0">
                  <a:pos x="1127" y="996"/>
                </a:cxn>
                <a:cxn ang="0">
                  <a:pos x="1134" y="1080"/>
                </a:cxn>
                <a:cxn ang="0">
                  <a:pos x="1134" y="1172"/>
                </a:cxn>
                <a:cxn ang="0">
                  <a:pos x="1125" y="1283"/>
                </a:cxn>
                <a:cxn ang="0">
                  <a:pos x="1113" y="1357"/>
                </a:cxn>
                <a:cxn ang="0">
                  <a:pos x="1091" y="1447"/>
                </a:cxn>
                <a:cxn ang="0">
                  <a:pos x="1062" y="1535"/>
                </a:cxn>
                <a:cxn ang="0">
                  <a:pos x="1018" y="1637"/>
                </a:cxn>
                <a:cxn ang="0">
                  <a:pos x="983" y="1702"/>
                </a:cxn>
                <a:cxn ang="0">
                  <a:pos x="309" y="1276"/>
                </a:cxn>
                <a:cxn ang="0">
                  <a:pos x="322" y="1246"/>
                </a:cxn>
                <a:cxn ang="0">
                  <a:pos x="331" y="1214"/>
                </a:cxn>
                <a:cxn ang="0">
                  <a:pos x="337" y="1181"/>
                </a:cxn>
                <a:cxn ang="0">
                  <a:pos x="340" y="1147"/>
                </a:cxn>
                <a:cxn ang="0">
                  <a:pos x="338" y="1101"/>
                </a:cxn>
                <a:cxn ang="0">
                  <a:pos x="335" y="1075"/>
                </a:cxn>
                <a:cxn ang="0">
                  <a:pos x="325" y="1034"/>
                </a:cxn>
                <a:cxn ang="0">
                  <a:pos x="306" y="988"/>
                </a:cxn>
                <a:cxn ang="0">
                  <a:pos x="282" y="945"/>
                </a:cxn>
                <a:cxn ang="0">
                  <a:pos x="252" y="907"/>
                </a:cxn>
                <a:cxn ang="0">
                  <a:pos x="216" y="873"/>
                </a:cxn>
                <a:cxn ang="0">
                  <a:pos x="176" y="844"/>
                </a:cxn>
                <a:cxn ang="0">
                  <a:pos x="132" y="822"/>
                </a:cxn>
                <a:cxn ang="0">
                  <a:pos x="101" y="810"/>
                </a:cxn>
                <a:cxn ang="0">
                  <a:pos x="69" y="802"/>
                </a:cxn>
                <a:cxn ang="0">
                  <a:pos x="35" y="797"/>
                </a:cxn>
              </a:cxnLst>
              <a:rect l="0" t="0" r="r" b="b"/>
              <a:pathLst>
                <a:path w="1135" h="1702">
                  <a:moveTo>
                    <a:pt x="0" y="795"/>
                  </a:moveTo>
                  <a:lnTo>
                    <a:pt x="0" y="0"/>
                  </a:lnTo>
                  <a:lnTo>
                    <a:pt x="28" y="1"/>
                  </a:lnTo>
                  <a:lnTo>
                    <a:pt x="56" y="2"/>
                  </a:lnTo>
                  <a:lnTo>
                    <a:pt x="83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6" y="13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8" y="28"/>
                  </a:lnTo>
                  <a:lnTo>
                    <a:pt x="275" y="34"/>
                  </a:lnTo>
                  <a:lnTo>
                    <a:pt x="302" y="42"/>
                  </a:lnTo>
                  <a:lnTo>
                    <a:pt x="329" y="49"/>
                  </a:lnTo>
                  <a:lnTo>
                    <a:pt x="356" y="58"/>
                  </a:lnTo>
                  <a:lnTo>
                    <a:pt x="382" y="67"/>
                  </a:lnTo>
                  <a:lnTo>
                    <a:pt x="395" y="72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59" y="98"/>
                  </a:lnTo>
                  <a:lnTo>
                    <a:pt x="485" y="109"/>
                  </a:lnTo>
                  <a:lnTo>
                    <a:pt x="510" y="121"/>
                  </a:lnTo>
                  <a:lnTo>
                    <a:pt x="534" y="134"/>
                  </a:lnTo>
                  <a:lnTo>
                    <a:pt x="559" y="148"/>
                  </a:lnTo>
                  <a:lnTo>
                    <a:pt x="584" y="161"/>
                  </a:lnTo>
                  <a:lnTo>
                    <a:pt x="608" y="176"/>
                  </a:lnTo>
                  <a:lnTo>
                    <a:pt x="631" y="191"/>
                  </a:lnTo>
                  <a:lnTo>
                    <a:pt x="654" y="207"/>
                  </a:lnTo>
                  <a:lnTo>
                    <a:pt x="677" y="223"/>
                  </a:lnTo>
                  <a:lnTo>
                    <a:pt x="699" y="240"/>
                  </a:lnTo>
                  <a:lnTo>
                    <a:pt x="720" y="257"/>
                  </a:lnTo>
                  <a:lnTo>
                    <a:pt x="742" y="275"/>
                  </a:lnTo>
                  <a:lnTo>
                    <a:pt x="762" y="294"/>
                  </a:lnTo>
                  <a:lnTo>
                    <a:pt x="773" y="303"/>
                  </a:lnTo>
                  <a:lnTo>
                    <a:pt x="783" y="313"/>
                  </a:lnTo>
                  <a:lnTo>
                    <a:pt x="803" y="333"/>
                  </a:lnTo>
                  <a:lnTo>
                    <a:pt x="822" y="352"/>
                  </a:lnTo>
                  <a:lnTo>
                    <a:pt x="841" y="373"/>
                  </a:lnTo>
                  <a:lnTo>
                    <a:pt x="860" y="394"/>
                  </a:lnTo>
                  <a:lnTo>
                    <a:pt x="877" y="415"/>
                  </a:lnTo>
                  <a:lnTo>
                    <a:pt x="895" y="437"/>
                  </a:lnTo>
                  <a:lnTo>
                    <a:pt x="912" y="459"/>
                  </a:lnTo>
                  <a:lnTo>
                    <a:pt x="928" y="481"/>
                  </a:lnTo>
                  <a:lnTo>
                    <a:pt x="944" y="504"/>
                  </a:lnTo>
                  <a:lnTo>
                    <a:pt x="959" y="528"/>
                  </a:lnTo>
                  <a:lnTo>
                    <a:pt x="973" y="551"/>
                  </a:lnTo>
                  <a:lnTo>
                    <a:pt x="987" y="576"/>
                  </a:lnTo>
                  <a:lnTo>
                    <a:pt x="1001" y="601"/>
                  </a:lnTo>
                  <a:lnTo>
                    <a:pt x="1014" y="626"/>
                  </a:lnTo>
                  <a:lnTo>
                    <a:pt x="1026" y="651"/>
                  </a:lnTo>
                  <a:lnTo>
                    <a:pt x="1037" y="676"/>
                  </a:lnTo>
                  <a:lnTo>
                    <a:pt x="1048" y="701"/>
                  </a:lnTo>
                  <a:lnTo>
                    <a:pt x="1059" y="727"/>
                  </a:lnTo>
                  <a:lnTo>
                    <a:pt x="1068" y="753"/>
                  </a:lnTo>
                  <a:lnTo>
                    <a:pt x="1078" y="780"/>
                  </a:lnTo>
                  <a:lnTo>
                    <a:pt x="1086" y="806"/>
                  </a:lnTo>
                  <a:lnTo>
                    <a:pt x="1094" y="833"/>
                  </a:lnTo>
                  <a:lnTo>
                    <a:pt x="1101" y="860"/>
                  </a:lnTo>
                  <a:lnTo>
                    <a:pt x="1107" y="887"/>
                  </a:lnTo>
                  <a:lnTo>
                    <a:pt x="1113" y="914"/>
                  </a:lnTo>
                  <a:lnTo>
                    <a:pt x="1118" y="941"/>
                  </a:lnTo>
                  <a:lnTo>
                    <a:pt x="1123" y="969"/>
                  </a:lnTo>
                  <a:lnTo>
                    <a:pt x="1127" y="996"/>
                  </a:lnTo>
                  <a:lnTo>
                    <a:pt x="1130" y="1024"/>
                  </a:lnTo>
                  <a:lnTo>
                    <a:pt x="1132" y="1052"/>
                  </a:lnTo>
                  <a:lnTo>
                    <a:pt x="1134" y="1080"/>
                  </a:lnTo>
                  <a:lnTo>
                    <a:pt x="1134" y="1107"/>
                  </a:lnTo>
                  <a:lnTo>
                    <a:pt x="1135" y="1135"/>
                  </a:lnTo>
                  <a:lnTo>
                    <a:pt x="1134" y="1172"/>
                  </a:lnTo>
                  <a:lnTo>
                    <a:pt x="1132" y="1209"/>
                  </a:lnTo>
                  <a:lnTo>
                    <a:pt x="1129" y="1246"/>
                  </a:lnTo>
                  <a:lnTo>
                    <a:pt x="1125" y="1283"/>
                  </a:lnTo>
                  <a:lnTo>
                    <a:pt x="1122" y="1302"/>
                  </a:lnTo>
                  <a:lnTo>
                    <a:pt x="1120" y="1320"/>
                  </a:lnTo>
                  <a:lnTo>
                    <a:pt x="1113" y="1357"/>
                  </a:lnTo>
                  <a:lnTo>
                    <a:pt x="1105" y="1393"/>
                  </a:lnTo>
                  <a:lnTo>
                    <a:pt x="1096" y="1429"/>
                  </a:lnTo>
                  <a:lnTo>
                    <a:pt x="1091" y="1447"/>
                  </a:lnTo>
                  <a:lnTo>
                    <a:pt x="1086" y="1464"/>
                  </a:lnTo>
                  <a:lnTo>
                    <a:pt x="1075" y="1500"/>
                  </a:lnTo>
                  <a:lnTo>
                    <a:pt x="1062" y="1535"/>
                  </a:lnTo>
                  <a:lnTo>
                    <a:pt x="1048" y="1569"/>
                  </a:lnTo>
                  <a:lnTo>
                    <a:pt x="1034" y="1603"/>
                  </a:lnTo>
                  <a:lnTo>
                    <a:pt x="1018" y="1637"/>
                  </a:lnTo>
                  <a:lnTo>
                    <a:pt x="1001" y="1670"/>
                  </a:lnTo>
                  <a:lnTo>
                    <a:pt x="992" y="1686"/>
                  </a:lnTo>
                  <a:lnTo>
                    <a:pt x="983" y="1702"/>
                  </a:lnTo>
                  <a:lnTo>
                    <a:pt x="294" y="1305"/>
                  </a:lnTo>
                  <a:lnTo>
                    <a:pt x="305" y="1286"/>
                  </a:lnTo>
                  <a:lnTo>
                    <a:pt x="309" y="1276"/>
                  </a:lnTo>
                  <a:lnTo>
                    <a:pt x="314" y="1266"/>
                  </a:lnTo>
                  <a:lnTo>
                    <a:pt x="318" y="1256"/>
                  </a:lnTo>
                  <a:lnTo>
                    <a:pt x="322" y="1246"/>
                  </a:lnTo>
                  <a:lnTo>
                    <a:pt x="325" y="1235"/>
                  </a:lnTo>
                  <a:lnTo>
                    <a:pt x="328" y="1225"/>
                  </a:lnTo>
                  <a:lnTo>
                    <a:pt x="331" y="1214"/>
                  </a:lnTo>
                  <a:lnTo>
                    <a:pt x="333" y="1203"/>
                  </a:lnTo>
                  <a:lnTo>
                    <a:pt x="335" y="1192"/>
                  </a:lnTo>
                  <a:lnTo>
                    <a:pt x="337" y="1181"/>
                  </a:lnTo>
                  <a:lnTo>
                    <a:pt x="338" y="1170"/>
                  </a:lnTo>
                  <a:lnTo>
                    <a:pt x="339" y="1158"/>
                  </a:lnTo>
                  <a:lnTo>
                    <a:pt x="340" y="1147"/>
                  </a:lnTo>
                  <a:lnTo>
                    <a:pt x="340" y="1135"/>
                  </a:lnTo>
                  <a:lnTo>
                    <a:pt x="340" y="1118"/>
                  </a:lnTo>
                  <a:lnTo>
                    <a:pt x="338" y="1101"/>
                  </a:lnTo>
                  <a:lnTo>
                    <a:pt x="337" y="1092"/>
                  </a:lnTo>
                  <a:lnTo>
                    <a:pt x="336" y="1083"/>
                  </a:lnTo>
                  <a:lnTo>
                    <a:pt x="335" y="1075"/>
                  </a:lnTo>
                  <a:lnTo>
                    <a:pt x="333" y="1067"/>
                  </a:lnTo>
                  <a:lnTo>
                    <a:pt x="329" y="1050"/>
                  </a:lnTo>
                  <a:lnTo>
                    <a:pt x="325" y="1034"/>
                  </a:lnTo>
                  <a:lnTo>
                    <a:pt x="319" y="1018"/>
                  </a:lnTo>
                  <a:lnTo>
                    <a:pt x="313" y="1003"/>
                  </a:lnTo>
                  <a:lnTo>
                    <a:pt x="306" y="988"/>
                  </a:lnTo>
                  <a:lnTo>
                    <a:pt x="299" y="973"/>
                  </a:lnTo>
                  <a:lnTo>
                    <a:pt x="291" y="959"/>
                  </a:lnTo>
                  <a:lnTo>
                    <a:pt x="282" y="945"/>
                  </a:lnTo>
                  <a:lnTo>
                    <a:pt x="272" y="932"/>
                  </a:lnTo>
                  <a:lnTo>
                    <a:pt x="262" y="919"/>
                  </a:lnTo>
                  <a:lnTo>
                    <a:pt x="252" y="907"/>
                  </a:lnTo>
                  <a:lnTo>
                    <a:pt x="240" y="895"/>
                  </a:lnTo>
                  <a:lnTo>
                    <a:pt x="229" y="884"/>
                  </a:lnTo>
                  <a:lnTo>
                    <a:pt x="216" y="873"/>
                  </a:lnTo>
                  <a:lnTo>
                    <a:pt x="203" y="863"/>
                  </a:lnTo>
                  <a:lnTo>
                    <a:pt x="190" y="853"/>
                  </a:lnTo>
                  <a:lnTo>
                    <a:pt x="176" y="844"/>
                  </a:lnTo>
                  <a:lnTo>
                    <a:pt x="162" y="836"/>
                  </a:lnTo>
                  <a:lnTo>
                    <a:pt x="147" y="829"/>
                  </a:lnTo>
                  <a:lnTo>
                    <a:pt x="132" y="822"/>
                  </a:lnTo>
                  <a:lnTo>
                    <a:pt x="125" y="819"/>
                  </a:lnTo>
                  <a:lnTo>
                    <a:pt x="117" y="816"/>
                  </a:lnTo>
                  <a:lnTo>
                    <a:pt x="101" y="810"/>
                  </a:lnTo>
                  <a:lnTo>
                    <a:pt x="93" y="808"/>
                  </a:lnTo>
                  <a:lnTo>
                    <a:pt x="85" y="806"/>
                  </a:lnTo>
                  <a:lnTo>
                    <a:pt x="69" y="802"/>
                  </a:lnTo>
                  <a:lnTo>
                    <a:pt x="60" y="800"/>
                  </a:lnTo>
                  <a:lnTo>
                    <a:pt x="52" y="799"/>
                  </a:lnTo>
                  <a:lnTo>
                    <a:pt x="35" y="797"/>
                  </a:lnTo>
                  <a:lnTo>
                    <a:pt x="17" y="796"/>
                  </a:lnTo>
                  <a:lnTo>
                    <a:pt x="0" y="795"/>
                  </a:lnTo>
                  <a:close/>
                </a:path>
              </a:pathLst>
            </a:custGeom>
            <a:solidFill>
              <a:srgbClr val="FF6600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86" name="Freeform 122"/>
            <p:cNvSpPr>
              <a:spLocks noChangeAspect="1"/>
            </p:cNvSpPr>
            <p:nvPr/>
          </p:nvSpPr>
          <p:spPr bwMode="auto">
            <a:xfrm>
              <a:off x="2655888" y="2698775"/>
              <a:ext cx="1612900" cy="790575"/>
            </a:xfrm>
            <a:custGeom>
              <a:avLst/>
              <a:gdLst/>
              <a:ahLst/>
              <a:cxnLst>
                <a:cxn ang="0">
                  <a:pos x="352" y="774"/>
                </a:cxn>
                <a:cxn ang="0">
                  <a:pos x="263" y="708"/>
                </a:cxn>
                <a:cxn ang="0">
                  <a:pos x="207" y="659"/>
                </a:cxn>
                <a:cxn ang="0">
                  <a:pos x="130" y="579"/>
                </a:cxn>
                <a:cxn ang="0">
                  <a:pos x="83" y="522"/>
                </a:cxn>
                <a:cxn ang="0">
                  <a:pos x="50" y="477"/>
                </a:cxn>
                <a:cxn ang="0">
                  <a:pos x="0" y="397"/>
                </a:cxn>
                <a:cxn ang="0">
                  <a:pos x="706" y="28"/>
                </a:cxn>
                <a:cxn ang="0">
                  <a:pos x="734" y="62"/>
                </a:cxn>
                <a:cxn ang="0">
                  <a:pos x="757" y="85"/>
                </a:cxn>
                <a:cxn ang="0">
                  <a:pos x="810" y="124"/>
                </a:cxn>
                <a:cxn ang="0">
                  <a:pos x="840" y="139"/>
                </a:cxn>
                <a:cxn ang="0">
                  <a:pos x="871" y="151"/>
                </a:cxn>
                <a:cxn ang="0">
                  <a:pos x="903" y="161"/>
                </a:cxn>
                <a:cxn ang="0">
                  <a:pos x="948" y="169"/>
                </a:cxn>
                <a:cxn ang="0">
                  <a:pos x="1006" y="170"/>
                </a:cxn>
                <a:cxn ang="0">
                  <a:pos x="1052" y="163"/>
                </a:cxn>
                <a:cxn ang="0">
                  <a:pos x="1095" y="151"/>
                </a:cxn>
                <a:cxn ang="0">
                  <a:pos x="1146" y="129"/>
                </a:cxn>
                <a:cxn ang="0">
                  <a:pos x="1183" y="105"/>
                </a:cxn>
                <a:cxn ang="0">
                  <a:pos x="1208" y="85"/>
                </a:cxn>
                <a:cxn ang="0">
                  <a:pos x="1239" y="54"/>
                </a:cxn>
                <a:cxn ang="0">
                  <a:pos x="1260" y="28"/>
                </a:cxn>
                <a:cxn ang="0">
                  <a:pos x="1277" y="0"/>
                </a:cxn>
                <a:cxn ang="0">
                  <a:pos x="1937" y="446"/>
                </a:cxn>
                <a:cxn ang="0">
                  <a:pos x="1889" y="514"/>
                </a:cxn>
                <a:cxn ang="0">
                  <a:pos x="1836" y="579"/>
                </a:cxn>
                <a:cxn ang="0">
                  <a:pos x="1779" y="640"/>
                </a:cxn>
                <a:cxn ang="0">
                  <a:pos x="1717" y="696"/>
                </a:cxn>
                <a:cxn ang="0">
                  <a:pos x="1652" y="748"/>
                </a:cxn>
                <a:cxn ang="0">
                  <a:pos x="1583" y="794"/>
                </a:cxn>
                <a:cxn ang="0">
                  <a:pos x="1509" y="836"/>
                </a:cxn>
                <a:cxn ang="0">
                  <a:pos x="1434" y="872"/>
                </a:cxn>
                <a:cxn ang="0">
                  <a:pos x="1356" y="902"/>
                </a:cxn>
                <a:cxn ang="0">
                  <a:pos x="1276" y="927"/>
                </a:cxn>
                <a:cxn ang="0">
                  <a:pos x="1195" y="945"/>
                </a:cxn>
                <a:cxn ang="0">
                  <a:pos x="1113" y="958"/>
                </a:cxn>
                <a:cxn ang="0">
                  <a:pos x="1029" y="964"/>
                </a:cxn>
                <a:cxn ang="0">
                  <a:pos x="946" y="965"/>
                </a:cxn>
                <a:cxn ang="0">
                  <a:pos x="863" y="959"/>
                </a:cxn>
                <a:cxn ang="0">
                  <a:pos x="780" y="947"/>
                </a:cxn>
                <a:cxn ang="0">
                  <a:pos x="698" y="929"/>
                </a:cxn>
                <a:cxn ang="0">
                  <a:pos x="619" y="905"/>
                </a:cxn>
                <a:cxn ang="0">
                  <a:pos x="541" y="876"/>
                </a:cxn>
                <a:cxn ang="0">
                  <a:pos x="465" y="840"/>
                </a:cxn>
              </a:cxnLst>
              <a:rect l="0" t="0" r="r" b="b"/>
              <a:pathLst>
                <a:path w="1966" h="965">
                  <a:moveTo>
                    <a:pt x="416" y="813"/>
                  </a:moveTo>
                  <a:lnTo>
                    <a:pt x="383" y="794"/>
                  </a:lnTo>
                  <a:lnTo>
                    <a:pt x="352" y="774"/>
                  </a:lnTo>
                  <a:lnTo>
                    <a:pt x="322" y="753"/>
                  </a:lnTo>
                  <a:lnTo>
                    <a:pt x="292" y="731"/>
                  </a:lnTo>
                  <a:lnTo>
                    <a:pt x="263" y="708"/>
                  </a:lnTo>
                  <a:lnTo>
                    <a:pt x="249" y="696"/>
                  </a:lnTo>
                  <a:lnTo>
                    <a:pt x="234" y="684"/>
                  </a:lnTo>
                  <a:lnTo>
                    <a:pt x="207" y="659"/>
                  </a:lnTo>
                  <a:lnTo>
                    <a:pt x="180" y="633"/>
                  </a:lnTo>
                  <a:lnTo>
                    <a:pt x="155" y="606"/>
                  </a:lnTo>
                  <a:lnTo>
                    <a:pt x="130" y="579"/>
                  </a:lnTo>
                  <a:lnTo>
                    <a:pt x="117" y="565"/>
                  </a:lnTo>
                  <a:lnTo>
                    <a:pt x="106" y="551"/>
                  </a:lnTo>
                  <a:lnTo>
                    <a:pt x="83" y="522"/>
                  </a:lnTo>
                  <a:lnTo>
                    <a:pt x="71" y="507"/>
                  </a:lnTo>
                  <a:lnTo>
                    <a:pt x="60" y="492"/>
                  </a:lnTo>
                  <a:lnTo>
                    <a:pt x="50" y="477"/>
                  </a:lnTo>
                  <a:lnTo>
                    <a:pt x="39" y="461"/>
                  </a:lnTo>
                  <a:lnTo>
                    <a:pt x="19" y="430"/>
                  </a:lnTo>
                  <a:lnTo>
                    <a:pt x="0" y="397"/>
                  </a:lnTo>
                  <a:lnTo>
                    <a:pt x="688" y="0"/>
                  </a:lnTo>
                  <a:lnTo>
                    <a:pt x="700" y="19"/>
                  </a:lnTo>
                  <a:lnTo>
                    <a:pt x="706" y="28"/>
                  </a:lnTo>
                  <a:lnTo>
                    <a:pt x="713" y="37"/>
                  </a:lnTo>
                  <a:lnTo>
                    <a:pt x="727" y="54"/>
                  </a:lnTo>
                  <a:lnTo>
                    <a:pt x="734" y="62"/>
                  </a:lnTo>
                  <a:lnTo>
                    <a:pt x="741" y="70"/>
                  </a:lnTo>
                  <a:lnTo>
                    <a:pt x="749" y="78"/>
                  </a:lnTo>
                  <a:lnTo>
                    <a:pt x="757" y="85"/>
                  </a:lnTo>
                  <a:lnTo>
                    <a:pt x="774" y="99"/>
                  </a:lnTo>
                  <a:lnTo>
                    <a:pt x="792" y="112"/>
                  </a:lnTo>
                  <a:lnTo>
                    <a:pt x="810" y="124"/>
                  </a:lnTo>
                  <a:lnTo>
                    <a:pt x="820" y="129"/>
                  </a:lnTo>
                  <a:lnTo>
                    <a:pt x="830" y="134"/>
                  </a:lnTo>
                  <a:lnTo>
                    <a:pt x="840" y="139"/>
                  </a:lnTo>
                  <a:lnTo>
                    <a:pt x="850" y="143"/>
                  </a:lnTo>
                  <a:lnTo>
                    <a:pt x="860" y="148"/>
                  </a:lnTo>
                  <a:lnTo>
                    <a:pt x="871" y="151"/>
                  </a:lnTo>
                  <a:lnTo>
                    <a:pt x="881" y="155"/>
                  </a:lnTo>
                  <a:lnTo>
                    <a:pt x="892" y="158"/>
                  </a:lnTo>
                  <a:lnTo>
                    <a:pt x="903" y="161"/>
                  </a:lnTo>
                  <a:lnTo>
                    <a:pt x="914" y="163"/>
                  </a:lnTo>
                  <a:lnTo>
                    <a:pt x="936" y="167"/>
                  </a:lnTo>
                  <a:lnTo>
                    <a:pt x="948" y="169"/>
                  </a:lnTo>
                  <a:lnTo>
                    <a:pt x="959" y="170"/>
                  </a:lnTo>
                  <a:lnTo>
                    <a:pt x="983" y="170"/>
                  </a:lnTo>
                  <a:lnTo>
                    <a:pt x="1006" y="170"/>
                  </a:lnTo>
                  <a:lnTo>
                    <a:pt x="1018" y="169"/>
                  </a:lnTo>
                  <a:lnTo>
                    <a:pt x="1029" y="167"/>
                  </a:lnTo>
                  <a:lnTo>
                    <a:pt x="1052" y="163"/>
                  </a:lnTo>
                  <a:lnTo>
                    <a:pt x="1063" y="161"/>
                  </a:lnTo>
                  <a:lnTo>
                    <a:pt x="1074" y="158"/>
                  </a:lnTo>
                  <a:lnTo>
                    <a:pt x="1095" y="151"/>
                  </a:lnTo>
                  <a:lnTo>
                    <a:pt x="1116" y="143"/>
                  </a:lnTo>
                  <a:lnTo>
                    <a:pt x="1136" y="134"/>
                  </a:lnTo>
                  <a:lnTo>
                    <a:pt x="1146" y="129"/>
                  </a:lnTo>
                  <a:lnTo>
                    <a:pt x="1155" y="124"/>
                  </a:lnTo>
                  <a:lnTo>
                    <a:pt x="1174" y="112"/>
                  </a:lnTo>
                  <a:lnTo>
                    <a:pt x="1183" y="105"/>
                  </a:lnTo>
                  <a:lnTo>
                    <a:pt x="1192" y="99"/>
                  </a:lnTo>
                  <a:lnTo>
                    <a:pt x="1200" y="92"/>
                  </a:lnTo>
                  <a:lnTo>
                    <a:pt x="1208" y="85"/>
                  </a:lnTo>
                  <a:lnTo>
                    <a:pt x="1217" y="77"/>
                  </a:lnTo>
                  <a:lnTo>
                    <a:pt x="1224" y="70"/>
                  </a:lnTo>
                  <a:lnTo>
                    <a:pt x="1239" y="54"/>
                  </a:lnTo>
                  <a:lnTo>
                    <a:pt x="1246" y="45"/>
                  </a:lnTo>
                  <a:lnTo>
                    <a:pt x="1253" y="37"/>
                  </a:lnTo>
                  <a:lnTo>
                    <a:pt x="1260" y="28"/>
                  </a:lnTo>
                  <a:lnTo>
                    <a:pt x="1266" y="19"/>
                  </a:lnTo>
                  <a:lnTo>
                    <a:pt x="1272" y="10"/>
                  </a:lnTo>
                  <a:lnTo>
                    <a:pt x="1277" y="0"/>
                  </a:lnTo>
                  <a:lnTo>
                    <a:pt x="1966" y="397"/>
                  </a:lnTo>
                  <a:lnTo>
                    <a:pt x="1952" y="422"/>
                  </a:lnTo>
                  <a:lnTo>
                    <a:pt x="1937" y="446"/>
                  </a:lnTo>
                  <a:lnTo>
                    <a:pt x="1921" y="469"/>
                  </a:lnTo>
                  <a:lnTo>
                    <a:pt x="1906" y="492"/>
                  </a:lnTo>
                  <a:lnTo>
                    <a:pt x="1889" y="514"/>
                  </a:lnTo>
                  <a:lnTo>
                    <a:pt x="1872" y="536"/>
                  </a:lnTo>
                  <a:lnTo>
                    <a:pt x="1854" y="558"/>
                  </a:lnTo>
                  <a:lnTo>
                    <a:pt x="1836" y="579"/>
                  </a:lnTo>
                  <a:lnTo>
                    <a:pt x="1818" y="600"/>
                  </a:lnTo>
                  <a:lnTo>
                    <a:pt x="1799" y="620"/>
                  </a:lnTo>
                  <a:lnTo>
                    <a:pt x="1779" y="640"/>
                  </a:lnTo>
                  <a:lnTo>
                    <a:pt x="1759" y="659"/>
                  </a:lnTo>
                  <a:lnTo>
                    <a:pt x="1738" y="678"/>
                  </a:lnTo>
                  <a:lnTo>
                    <a:pt x="1717" y="696"/>
                  </a:lnTo>
                  <a:lnTo>
                    <a:pt x="1696" y="714"/>
                  </a:lnTo>
                  <a:lnTo>
                    <a:pt x="1674" y="731"/>
                  </a:lnTo>
                  <a:lnTo>
                    <a:pt x="1652" y="748"/>
                  </a:lnTo>
                  <a:lnTo>
                    <a:pt x="1629" y="764"/>
                  </a:lnTo>
                  <a:lnTo>
                    <a:pt x="1606" y="779"/>
                  </a:lnTo>
                  <a:lnTo>
                    <a:pt x="1583" y="794"/>
                  </a:lnTo>
                  <a:lnTo>
                    <a:pt x="1559" y="809"/>
                  </a:lnTo>
                  <a:lnTo>
                    <a:pt x="1534" y="823"/>
                  </a:lnTo>
                  <a:lnTo>
                    <a:pt x="1509" y="836"/>
                  </a:lnTo>
                  <a:lnTo>
                    <a:pt x="1485" y="849"/>
                  </a:lnTo>
                  <a:lnTo>
                    <a:pt x="1460" y="861"/>
                  </a:lnTo>
                  <a:lnTo>
                    <a:pt x="1434" y="872"/>
                  </a:lnTo>
                  <a:lnTo>
                    <a:pt x="1409" y="883"/>
                  </a:lnTo>
                  <a:lnTo>
                    <a:pt x="1383" y="893"/>
                  </a:lnTo>
                  <a:lnTo>
                    <a:pt x="1356" y="902"/>
                  </a:lnTo>
                  <a:lnTo>
                    <a:pt x="1330" y="911"/>
                  </a:lnTo>
                  <a:lnTo>
                    <a:pt x="1303" y="919"/>
                  </a:lnTo>
                  <a:lnTo>
                    <a:pt x="1276" y="927"/>
                  </a:lnTo>
                  <a:lnTo>
                    <a:pt x="1249" y="933"/>
                  </a:lnTo>
                  <a:lnTo>
                    <a:pt x="1222" y="940"/>
                  </a:lnTo>
                  <a:lnTo>
                    <a:pt x="1195" y="945"/>
                  </a:lnTo>
                  <a:lnTo>
                    <a:pt x="1168" y="950"/>
                  </a:lnTo>
                  <a:lnTo>
                    <a:pt x="1140" y="954"/>
                  </a:lnTo>
                  <a:lnTo>
                    <a:pt x="1113" y="958"/>
                  </a:lnTo>
                  <a:lnTo>
                    <a:pt x="1085" y="961"/>
                  </a:lnTo>
                  <a:lnTo>
                    <a:pt x="1057" y="963"/>
                  </a:lnTo>
                  <a:lnTo>
                    <a:pt x="1029" y="964"/>
                  </a:lnTo>
                  <a:lnTo>
                    <a:pt x="1002" y="965"/>
                  </a:lnTo>
                  <a:lnTo>
                    <a:pt x="974" y="965"/>
                  </a:lnTo>
                  <a:lnTo>
                    <a:pt x="946" y="965"/>
                  </a:lnTo>
                  <a:lnTo>
                    <a:pt x="918" y="963"/>
                  </a:lnTo>
                  <a:lnTo>
                    <a:pt x="890" y="961"/>
                  </a:lnTo>
                  <a:lnTo>
                    <a:pt x="863" y="959"/>
                  </a:lnTo>
                  <a:lnTo>
                    <a:pt x="835" y="955"/>
                  </a:lnTo>
                  <a:lnTo>
                    <a:pt x="807" y="952"/>
                  </a:lnTo>
                  <a:lnTo>
                    <a:pt x="780" y="947"/>
                  </a:lnTo>
                  <a:lnTo>
                    <a:pt x="753" y="942"/>
                  </a:lnTo>
                  <a:lnTo>
                    <a:pt x="726" y="936"/>
                  </a:lnTo>
                  <a:lnTo>
                    <a:pt x="698" y="929"/>
                  </a:lnTo>
                  <a:lnTo>
                    <a:pt x="672" y="922"/>
                  </a:lnTo>
                  <a:lnTo>
                    <a:pt x="645" y="914"/>
                  </a:lnTo>
                  <a:lnTo>
                    <a:pt x="619" y="905"/>
                  </a:lnTo>
                  <a:lnTo>
                    <a:pt x="592" y="896"/>
                  </a:lnTo>
                  <a:lnTo>
                    <a:pt x="566" y="886"/>
                  </a:lnTo>
                  <a:lnTo>
                    <a:pt x="541" y="876"/>
                  </a:lnTo>
                  <a:lnTo>
                    <a:pt x="515" y="865"/>
                  </a:lnTo>
                  <a:lnTo>
                    <a:pt x="490" y="853"/>
                  </a:lnTo>
                  <a:lnTo>
                    <a:pt x="465" y="840"/>
                  </a:lnTo>
                  <a:lnTo>
                    <a:pt x="440" y="827"/>
                  </a:lnTo>
                  <a:lnTo>
                    <a:pt x="416" y="813"/>
                  </a:lnTo>
                  <a:close/>
                </a:path>
              </a:pathLst>
            </a:custGeom>
            <a:solidFill>
              <a:srgbClr val="7F7F7F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87" name="Freeform 123"/>
            <p:cNvSpPr>
              <a:spLocks noChangeAspect="1"/>
            </p:cNvSpPr>
            <p:nvPr/>
          </p:nvSpPr>
          <p:spPr bwMode="auto">
            <a:xfrm>
              <a:off x="2532063" y="1628800"/>
              <a:ext cx="930275" cy="1395413"/>
            </a:xfrm>
            <a:custGeom>
              <a:avLst/>
              <a:gdLst/>
              <a:ahLst/>
              <a:cxnLst>
                <a:cxn ang="0">
                  <a:pos x="139" y="1678"/>
                </a:cxn>
                <a:cxn ang="0">
                  <a:pos x="101" y="1603"/>
                </a:cxn>
                <a:cxn ang="0">
                  <a:pos x="70" y="1526"/>
                </a:cxn>
                <a:cxn ang="0">
                  <a:pos x="44" y="1447"/>
                </a:cxn>
                <a:cxn ang="0">
                  <a:pos x="24" y="1365"/>
                </a:cxn>
                <a:cxn ang="0">
                  <a:pos x="10" y="1283"/>
                </a:cxn>
                <a:cxn ang="0">
                  <a:pos x="2" y="1200"/>
                </a:cxn>
                <a:cxn ang="0">
                  <a:pos x="0" y="1117"/>
                </a:cxn>
                <a:cxn ang="0">
                  <a:pos x="5" y="1033"/>
                </a:cxn>
                <a:cxn ang="0">
                  <a:pos x="15" y="951"/>
                </a:cxn>
                <a:cxn ang="0">
                  <a:pos x="32" y="869"/>
                </a:cxn>
                <a:cxn ang="0">
                  <a:pos x="51" y="802"/>
                </a:cxn>
                <a:cxn ang="0">
                  <a:pos x="73" y="736"/>
                </a:cxn>
                <a:cxn ang="0">
                  <a:pos x="105" y="659"/>
                </a:cxn>
                <a:cxn ang="0">
                  <a:pos x="143" y="584"/>
                </a:cxn>
                <a:cxn ang="0">
                  <a:pos x="186" y="512"/>
                </a:cxn>
                <a:cxn ang="0">
                  <a:pos x="235" y="444"/>
                </a:cxn>
                <a:cxn ang="0">
                  <a:pos x="288" y="380"/>
                </a:cxn>
                <a:cxn ang="0">
                  <a:pos x="345" y="319"/>
                </a:cxn>
                <a:cxn ang="0">
                  <a:pos x="407" y="263"/>
                </a:cxn>
                <a:cxn ang="0">
                  <a:pos x="473" y="212"/>
                </a:cxn>
                <a:cxn ang="0">
                  <a:pos x="543" y="166"/>
                </a:cxn>
                <a:cxn ang="0">
                  <a:pos x="601" y="134"/>
                </a:cxn>
                <a:cxn ang="0">
                  <a:pos x="667" y="101"/>
                </a:cxn>
                <a:cxn ang="0">
                  <a:pos x="771" y="60"/>
                </a:cxn>
                <a:cxn ang="0">
                  <a:pos x="878" y="30"/>
                </a:cxn>
                <a:cxn ang="0">
                  <a:pos x="950" y="15"/>
                </a:cxn>
                <a:cxn ang="0">
                  <a:pos x="1061" y="3"/>
                </a:cxn>
                <a:cxn ang="0">
                  <a:pos x="1117" y="0"/>
                </a:cxn>
                <a:cxn ang="0">
                  <a:pos x="1117" y="795"/>
                </a:cxn>
                <a:cxn ang="0">
                  <a:pos x="1083" y="799"/>
                </a:cxn>
                <a:cxn ang="0">
                  <a:pos x="1050" y="806"/>
                </a:cxn>
                <a:cxn ang="0">
                  <a:pos x="1003" y="822"/>
                </a:cxn>
                <a:cxn ang="0">
                  <a:pos x="959" y="844"/>
                </a:cxn>
                <a:cxn ang="0">
                  <a:pos x="919" y="873"/>
                </a:cxn>
                <a:cxn ang="0">
                  <a:pos x="883" y="906"/>
                </a:cxn>
                <a:cxn ang="0">
                  <a:pos x="853" y="945"/>
                </a:cxn>
                <a:cxn ang="0">
                  <a:pos x="828" y="988"/>
                </a:cxn>
                <a:cxn ang="0">
                  <a:pos x="815" y="1018"/>
                </a:cxn>
                <a:cxn ang="0">
                  <a:pos x="806" y="1050"/>
                </a:cxn>
                <a:cxn ang="0">
                  <a:pos x="799" y="1083"/>
                </a:cxn>
                <a:cxn ang="0">
                  <a:pos x="795" y="1135"/>
                </a:cxn>
                <a:cxn ang="0">
                  <a:pos x="798" y="1181"/>
                </a:cxn>
                <a:cxn ang="0">
                  <a:pos x="807" y="1225"/>
                </a:cxn>
                <a:cxn ang="0">
                  <a:pos x="821" y="1266"/>
                </a:cxn>
                <a:cxn ang="0">
                  <a:pos x="840" y="1305"/>
                </a:cxn>
              </a:cxnLst>
              <a:rect l="0" t="0" r="r" b="b"/>
              <a:pathLst>
                <a:path w="1135" h="1702">
                  <a:moveTo>
                    <a:pt x="840" y="1305"/>
                  </a:moveTo>
                  <a:lnTo>
                    <a:pt x="152" y="1702"/>
                  </a:lnTo>
                  <a:lnTo>
                    <a:pt x="139" y="1678"/>
                  </a:lnTo>
                  <a:lnTo>
                    <a:pt x="126" y="1653"/>
                  </a:lnTo>
                  <a:lnTo>
                    <a:pt x="113" y="1628"/>
                  </a:lnTo>
                  <a:lnTo>
                    <a:pt x="101" y="1603"/>
                  </a:lnTo>
                  <a:lnTo>
                    <a:pt x="90" y="1578"/>
                  </a:lnTo>
                  <a:lnTo>
                    <a:pt x="80" y="1552"/>
                  </a:lnTo>
                  <a:lnTo>
                    <a:pt x="70" y="1526"/>
                  </a:lnTo>
                  <a:lnTo>
                    <a:pt x="61" y="1500"/>
                  </a:lnTo>
                  <a:lnTo>
                    <a:pt x="52" y="1473"/>
                  </a:lnTo>
                  <a:lnTo>
                    <a:pt x="44" y="1447"/>
                  </a:lnTo>
                  <a:lnTo>
                    <a:pt x="37" y="1420"/>
                  </a:lnTo>
                  <a:lnTo>
                    <a:pt x="30" y="1393"/>
                  </a:lnTo>
                  <a:lnTo>
                    <a:pt x="24" y="1365"/>
                  </a:lnTo>
                  <a:lnTo>
                    <a:pt x="19" y="1338"/>
                  </a:lnTo>
                  <a:lnTo>
                    <a:pt x="14" y="1311"/>
                  </a:lnTo>
                  <a:lnTo>
                    <a:pt x="10" y="1283"/>
                  </a:lnTo>
                  <a:lnTo>
                    <a:pt x="7" y="1256"/>
                  </a:lnTo>
                  <a:lnTo>
                    <a:pt x="4" y="1228"/>
                  </a:lnTo>
                  <a:lnTo>
                    <a:pt x="2" y="1200"/>
                  </a:lnTo>
                  <a:lnTo>
                    <a:pt x="1" y="1172"/>
                  </a:lnTo>
                  <a:lnTo>
                    <a:pt x="0" y="1145"/>
                  </a:lnTo>
                  <a:lnTo>
                    <a:pt x="0" y="1117"/>
                  </a:lnTo>
                  <a:lnTo>
                    <a:pt x="1" y="1089"/>
                  </a:lnTo>
                  <a:lnTo>
                    <a:pt x="2" y="1061"/>
                  </a:lnTo>
                  <a:lnTo>
                    <a:pt x="5" y="1033"/>
                  </a:lnTo>
                  <a:lnTo>
                    <a:pt x="7" y="1006"/>
                  </a:lnTo>
                  <a:lnTo>
                    <a:pt x="11" y="978"/>
                  </a:lnTo>
                  <a:lnTo>
                    <a:pt x="15" y="951"/>
                  </a:lnTo>
                  <a:lnTo>
                    <a:pt x="20" y="923"/>
                  </a:lnTo>
                  <a:lnTo>
                    <a:pt x="26" y="896"/>
                  </a:lnTo>
                  <a:lnTo>
                    <a:pt x="32" y="869"/>
                  </a:lnTo>
                  <a:lnTo>
                    <a:pt x="39" y="842"/>
                  </a:lnTo>
                  <a:lnTo>
                    <a:pt x="47" y="815"/>
                  </a:lnTo>
                  <a:lnTo>
                    <a:pt x="51" y="802"/>
                  </a:lnTo>
                  <a:lnTo>
                    <a:pt x="55" y="788"/>
                  </a:lnTo>
                  <a:lnTo>
                    <a:pt x="64" y="762"/>
                  </a:lnTo>
                  <a:lnTo>
                    <a:pt x="73" y="736"/>
                  </a:lnTo>
                  <a:lnTo>
                    <a:pt x="83" y="710"/>
                  </a:lnTo>
                  <a:lnTo>
                    <a:pt x="94" y="684"/>
                  </a:lnTo>
                  <a:lnTo>
                    <a:pt x="105" y="659"/>
                  </a:lnTo>
                  <a:lnTo>
                    <a:pt x="117" y="634"/>
                  </a:lnTo>
                  <a:lnTo>
                    <a:pt x="130" y="609"/>
                  </a:lnTo>
                  <a:lnTo>
                    <a:pt x="143" y="584"/>
                  </a:lnTo>
                  <a:lnTo>
                    <a:pt x="157" y="559"/>
                  </a:lnTo>
                  <a:lnTo>
                    <a:pt x="171" y="535"/>
                  </a:lnTo>
                  <a:lnTo>
                    <a:pt x="186" y="512"/>
                  </a:lnTo>
                  <a:lnTo>
                    <a:pt x="202" y="489"/>
                  </a:lnTo>
                  <a:lnTo>
                    <a:pt x="218" y="466"/>
                  </a:lnTo>
                  <a:lnTo>
                    <a:pt x="235" y="444"/>
                  </a:lnTo>
                  <a:lnTo>
                    <a:pt x="252" y="422"/>
                  </a:lnTo>
                  <a:lnTo>
                    <a:pt x="270" y="401"/>
                  </a:lnTo>
                  <a:lnTo>
                    <a:pt x="288" y="380"/>
                  </a:lnTo>
                  <a:lnTo>
                    <a:pt x="306" y="359"/>
                  </a:lnTo>
                  <a:lnTo>
                    <a:pt x="326" y="339"/>
                  </a:lnTo>
                  <a:lnTo>
                    <a:pt x="345" y="319"/>
                  </a:lnTo>
                  <a:lnTo>
                    <a:pt x="366" y="300"/>
                  </a:lnTo>
                  <a:lnTo>
                    <a:pt x="386" y="281"/>
                  </a:lnTo>
                  <a:lnTo>
                    <a:pt x="407" y="263"/>
                  </a:lnTo>
                  <a:lnTo>
                    <a:pt x="429" y="246"/>
                  </a:lnTo>
                  <a:lnTo>
                    <a:pt x="451" y="229"/>
                  </a:lnTo>
                  <a:lnTo>
                    <a:pt x="473" y="212"/>
                  </a:lnTo>
                  <a:lnTo>
                    <a:pt x="496" y="196"/>
                  </a:lnTo>
                  <a:lnTo>
                    <a:pt x="520" y="181"/>
                  </a:lnTo>
                  <a:lnTo>
                    <a:pt x="543" y="166"/>
                  </a:lnTo>
                  <a:lnTo>
                    <a:pt x="568" y="152"/>
                  </a:lnTo>
                  <a:lnTo>
                    <a:pt x="584" y="143"/>
                  </a:lnTo>
                  <a:lnTo>
                    <a:pt x="601" y="134"/>
                  </a:lnTo>
                  <a:lnTo>
                    <a:pt x="634" y="117"/>
                  </a:lnTo>
                  <a:lnTo>
                    <a:pt x="650" y="109"/>
                  </a:lnTo>
                  <a:lnTo>
                    <a:pt x="667" y="101"/>
                  </a:lnTo>
                  <a:lnTo>
                    <a:pt x="701" y="87"/>
                  </a:lnTo>
                  <a:lnTo>
                    <a:pt x="736" y="73"/>
                  </a:lnTo>
                  <a:lnTo>
                    <a:pt x="771" y="60"/>
                  </a:lnTo>
                  <a:lnTo>
                    <a:pt x="806" y="49"/>
                  </a:lnTo>
                  <a:lnTo>
                    <a:pt x="842" y="39"/>
                  </a:lnTo>
                  <a:lnTo>
                    <a:pt x="878" y="30"/>
                  </a:lnTo>
                  <a:lnTo>
                    <a:pt x="896" y="26"/>
                  </a:lnTo>
                  <a:lnTo>
                    <a:pt x="914" y="22"/>
                  </a:lnTo>
                  <a:lnTo>
                    <a:pt x="950" y="15"/>
                  </a:lnTo>
                  <a:lnTo>
                    <a:pt x="987" y="10"/>
                  </a:lnTo>
                  <a:lnTo>
                    <a:pt x="1024" y="6"/>
                  </a:lnTo>
                  <a:lnTo>
                    <a:pt x="1061" y="3"/>
                  </a:lnTo>
                  <a:lnTo>
                    <a:pt x="1079" y="2"/>
                  </a:lnTo>
                  <a:lnTo>
                    <a:pt x="1098" y="1"/>
                  </a:lnTo>
                  <a:lnTo>
                    <a:pt x="1117" y="0"/>
                  </a:lnTo>
                  <a:lnTo>
                    <a:pt x="1135" y="0"/>
                  </a:lnTo>
                  <a:lnTo>
                    <a:pt x="1135" y="795"/>
                  </a:lnTo>
                  <a:lnTo>
                    <a:pt x="1117" y="795"/>
                  </a:lnTo>
                  <a:lnTo>
                    <a:pt x="1100" y="797"/>
                  </a:lnTo>
                  <a:lnTo>
                    <a:pt x="1092" y="798"/>
                  </a:lnTo>
                  <a:lnTo>
                    <a:pt x="1083" y="799"/>
                  </a:lnTo>
                  <a:lnTo>
                    <a:pt x="1075" y="800"/>
                  </a:lnTo>
                  <a:lnTo>
                    <a:pt x="1066" y="802"/>
                  </a:lnTo>
                  <a:lnTo>
                    <a:pt x="1050" y="806"/>
                  </a:lnTo>
                  <a:lnTo>
                    <a:pt x="1034" y="810"/>
                  </a:lnTo>
                  <a:lnTo>
                    <a:pt x="1018" y="816"/>
                  </a:lnTo>
                  <a:lnTo>
                    <a:pt x="1003" y="822"/>
                  </a:lnTo>
                  <a:lnTo>
                    <a:pt x="988" y="829"/>
                  </a:lnTo>
                  <a:lnTo>
                    <a:pt x="973" y="836"/>
                  </a:lnTo>
                  <a:lnTo>
                    <a:pt x="959" y="844"/>
                  </a:lnTo>
                  <a:lnTo>
                    <a:pt x="945" y="853"/>
                  </a:lnTo>
                  <a:lnTo>
                    <a:pt x="931" y="863"/>
                  </a:lnTo>
                  <a:lnTo>
                    <a:pt x="919" y="873"/>
                  </a:lnTo>
                  <a:lnTo>
                    <a:pt x="906" y="883"/>
                  </a:lnTo>
                  <a:lnTo>
                    <a:pt x="894" y="895"/>
                  </a:lnTo>
                  <a:lnTo>
                    <a:pt x="883" y="906"/>
                  </a:lnTo>
                  <a:lnTo>
                    <a:pt x="872" y="919"/>
                  </a:lnTo>
                  <a:lnTo>
                    <a:pt x="862" y="932"/>
                  </a:lnTo>
                  <a:lnTo>
                    <a:pt x="853" y="945"/>
                  </a:lnTo>
                  <a:lnTo>
                    <a:pt x="844" y="959"/>
                  </a:lnTo>
                  <a:lnTo>
                    <a:pt x="836" y="973"/>
                  </a:lnTo>
                  <a:lnTo>
                    <a:pt x="828" y="988"/>
                  </a:lnTo>
                  <a:lnTo>
                    <a:pt x="822" y="1003"/>
                  </a:lnTo>
                  <a:lnTo>
                    <a:pt x="818" y="1010"/>
                  </a:lnTo>
                  <a:lnTo>
                    <a:pt x="815" y="1018"/>
                  </a:lnTo>
                  <a:lnTo>
                    <a:pt x="810" y="1034"/>
                  </a:lnTo>
                  <a:lnTo>
                    <a:pt x="808" y="1042"/>
                  </a:lnTo>
                  <a:lnTo>
                    <a:pt x="806" y="1050"/>
                  </a:lnTo>
                  <a:lnTo>
                    <a:pt x="802" y="1067"/>
                  </a:lnTo>
                  <a:lnTo>
                    <a:pt x="800" y="1075"/>
                  </a:lnTo>
                  <a:lnTo>
                    <a:pt x="799" y="1083"/>
                  </a:lnTo>
                  <a:lnTo>
                    <a:pt x="797" y="1100"/>
                  </a:lnTo>
                  <a:lnTo>
                    <a:pt x="795" y="1118"/>
                  </a:lnTo>
                  <a:lnTo>
                    <a:pt x="795" y="1135"/>
                  </a:lnTo>
                  <a:lnTo>
                    <a:pt x="795" y="1147"/>
                  </a:lnTo>
                  <a:lnTo>
                    <a:pt x="796" y="1158"/>
                  </a:lnTo>
                  <a:lnTo>
                    <a:pt x="798" y="1181"/>
                  </a:lnTo>
                  <a:lnTo>
                    <a:pt x="800" y="1192"/>
                  </a:lnTo>
                  <a:lnTo>
                    <a:pt x="802" y="1203"/>
                  </a:lnTo>
                  <a:lnTo>
                    <a:pt x="807" y="1225"/>
                  </a:lnTo>
                  <a:lnTo>
                    <a:pt x="810" y="1235"/>
                  </a:lnTo>
                  <a:lnTo>
                    <a:pt x="813" y="1246"/>
                  </a:lnTo>
                  <a:lnTo>
                    <a:pt x="821" y="1266"/>
                  </a:lnTo>
                  <a:lnTo>
                    <a:pt x="825" y="1276"/>
                  </a:lnTo>
                  <a:lnTo>
                    <a:pt x="830" y="1286"/>
                  </a:lnTo>
                  <a:lnTo>
                    <a:pt x="840" y="1305"/>
                  </a:lnTo>
                  <a:close/>
                </a:path>
              </a:pathLst>
            </a:custGeom>
            <a:solidFill>
              <a:srgbClr val="FF952E"/>
            </a:solidFill>
            <a:ln w="6350" cmpd="sng">
              <a:noFill/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88" name="Text Box 124"/>
            <p:cNvSpPr txBox="1">
              <a:spLocks noChangeArrowheads="1"/>
            </p:cNvSpPr>
            <p:nvPr/>
          </p:nvSpPr>
          <p:spPr bwMode="auto">
            <a:xfrm>
              <a:off x="3255963" y="2965475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89" name="Text Box 125"/>
            <p:cNvSpPr txBox="1">
              <a:spLocks noChangeArrowheads="1"/>
            </p:cNvSpPr>
            <p:nvPr/>
          </p:nvSpPr>
          <p:spPr bwMode="auto">
            <a:xfrm>
              <a:off x="3721101" y="2198713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6990" name="Text Box 126"/>
            <p:cNvSpPr txBox="1">
              <a:spLocks noChangeArrowheads="1"/>
            </p:cNvSpPr>
            <p:nvPr/>
          </p:nvSpPr>
          <p:spPr bwMode="auto">
            <a:xfrm>
              <a:off x="2790826" y="2198713"/>
              <a:ext cx="411163" cy="25558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>
                  <a:solidFill>
                    <a:schemeClr val="tx1"/>
                  </a:solidFill>
                </a:rPr>
                <a:t>Text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213766" y="3924571"/>
            <a:ext cx="2015598" cy="1949216"/>
            <a:chOff x="5845181" y="4013232"/>
            <a:chExt cx="1860552" cy="1860553"/>
          </a:xfrm>
          <a:solidFill>
            <a:srgbClr val="7F7F7F"/>
          </a:solidFill>
        </p:grpSpPr>
        <p:sp>
          <p:nvSpPr>
            <p:cNvPr id="36992" name="Freeform 128"/>
            <p:cNvSpPr>
              <a:spLocks noChangeAspect="1"/>
            </p:cNvSpPr>
            <p:nvPr/>
          </p:nvSpPr>
          <p:spPr bwMode="auto">
            <a:xfrm>
              <a:off x="6767519" y="4013232"/>
              <a:ext cx="657226" cy="742951"/>
            </a:xfrm>
            <a:custGeom>
              <a:avLst/>
              <a:gdLst/>
              <a:ahLst/>
              <a:cxnLst>
                <a:cxn ang="0">
                  <a:pos x="0" y="859"/>
                </a:cxn>
                <a:cxn ang="0">
                  <a:pos x="0" y="429"/>
                </a:cxn>
                <a:cxn ang="0">
                  <a:pos x="0" y="0"/>
                </a:cxn>
                <a:cxn ang="0">
                  <a:pos x="30" y="0"/>
                </a:cxn>
                <a:cxn ang="0">
                  <a:pos x="59" y="1"/>
                </a:cxn>
                <a:cxn ang="0">
                  <a:pos x="88" y="3"/>
                </a:cxn>
                <a:cxn ang="0">
                  <a:pos x="118" y="6"/>
                </a:cxn>
                <a:cxn ang="0">
                  <a:pos x="147" y="9"/>
                </a:cxn>
                <a:cxn ang="0">
                  <a:pos x="176" y="13"/>
                </a:cxn>
                <a:cxn ang="0">
                  <a:pos x="205" y="18"/>
                </a:cxn>
                <a:cxn ang="0">
                  <a:pos x="234" y="23"/>
                </a:cxn>
                <a:cxn ang="0">
                  <a:pos x="263" y="29"/>
                </a:cxn>
                <a:cxn ang="0">
                  <a:pos x="291" y="36"/>
                </a:cxn>
                <a:cxn ang="0">
                  <a:pos x="320" y="43"/>
                </a:cxn>
                <a:cxn ang="0">
                  <a:pos x="348" y="52"/>
                </a:cxn>
                <a:cxn ang="0">
                  <a:pos x="362" y="56"/>
                </a:cxn>
                <a:cxn ang="0">
                  <a:pos x="376" y="60"/>
                </a:cxn>
                <a:cxn ang="0">
                  <a:pos x="404" y="70"/>
                </a:cxn>
                <a:cxn ang="0">
                  <a:pos x="431" y="80"/>
                </a:cxn>
                <a:cxn ang="0">
                  <a:pos x="459" y="91"/>
                </a:cxn>
                <a:cxn ang="0">
                  <a:pos x="486" y="103"/>
                </a:cxn>
                <a:cxn ang="0">
                  <a:pos x="513" y="115"/>
                </a:cxn>
                <a:cxn ang="0">
                  <a:pos x="539" y="128"/>
                </a:cxn>
                <a:cxn ang="0">
                  <a:pos x="565" y="141"/>
                </a:cxn>
                <a:cxn ang="0">
                  <a:pos x="591" y="155"/>
                </a:cxn>
                <a:cxn ang="0">
                  <a:pos x="617" y="170"/>
                </a:cxn>
                <a:cxn ang="0">
                  <a:pos x="642" y="185"/>
                </a:cxn>
                <a:cxn ang="0">
                  <a:pos x="667" y="201"/>
                </a:cxn>
                <a:cxn ang="0">
                  <a:pos x="691" y="218"/>
                </a:cxn>
                <a:cxn ang="0">
                  <a:pos x="703" y="227"/>
                </a:cxn>
                <a:cxn ang="0">
                  <a:pos x="715" y="235"/>
                </a:cxn>
                <a:cxn ang="0">
                  <a:pos x="739" y="253"/>
                </a:cxn>
                <a:cxn ang="0">
                  <a:pos x="762" y="271"/>
                </a:cxn>
                <a:cxn ang="0">
                  <a:pos x="784" y="290"/>
                </a:cxn>
                <a:cxn ang="0">
                  <a:pos x="806" y="310"/>
                </a:cxn>
                <a:cxn ang="0">
                  <a:pos x="817" y="320"/>
                </a:cxn>
                <a:cxn ang="0">
                  <a:pos x="827" y="330"/>
                </a:cxn>
                <a:cxn ang="0">
                  <a:pos x="848" y="351"/>
                </a:cxn>
                <a:cxn ang="0">
                  <a:pos x="241" y="958"/>
                </a:cxn>
                <a:cxn ang="0">
                  <a:pos x="229" y="947"/>
                </a:cxn>
                <a:cxn ang="0">
                  <a:pos x="217" y="936"/>
                </a:cxn>
                <a:cxn ang="0">
                  <a:pos x="204" y="926"/>
                </a:cxn>
                <a:cxn ang="0">
                  <a:pos x="191" y="917"/>
                </a:cxn>
                <a:cxn ang="0">
                  <a:pos x="177" y="908"/>
                </a:cxn>
                <a:cxn ang="0">
                  <a:pos x="162" y="900"/>
                </a:cxn>
                <a:cxn ang="0">
                  <a:pos x="148" y="892"/>
                </a:cxn>
                <a:cxn ang="0">
                  <a:pos x="133" y="885"/>
                </a:cxn>
                <a:cxn ang="0">
                  <a:pos x="125" y="882"/>
                </a:cxn>
                <a:cxn ang="0">
                  <a:pos x="117" y="879"/>
                </a:cxn>
                <a:cxn ang="0">
                  <a:pos x="101" y="874"/>
                </a:cxn>
                <a:cxn ang="0">
                  <a:pos x="93" y="872"/>
                </a:cxn>
                <a:cxn ang="0">
                  <a:pos x="85" y="869"/>
                </a:cxn>
                <a:cxn ang="0">
                  <a:pos x="69" y="866"/>
                </a:cxn>
                <a:cxn ang="0">
                  <a:pos x="61" y="864"/>
                </a:cxn>
                <a:cxn ang="0">
                  <a:pos x="52" y="863"/>
                </a:cxn>
                <a:cxn ang="0">
                  <a:pos x="35" y="861"/>
                </a:cxn>
                <a:cxn ang="0">
                  <a:pos x="18" y="859"/>
                </a:cxn>
                <a:cxn ang="0">
                  <a:pos x="0" y="859"/>
                </a:cxn>
              </a:cxnLst>
              <a:rect l="0" t="0" r="r" b="b"/>
              <a:pathLst>
                <a:path w="848" h="958">
                  <a:moveTo>
                    <a:pt x="0" y="859"/>
                  </a:moveTo>
                  <a:lnTo>
                    <a:pt x="0" y="429"/>
                  </a:lnTo>
                  <a:lnTo>
                    <a:pt x="0" y="0"/>
                  </a:lnTo>
                  <a:lnTo>
                    <a:pt x="30" y="0"/>
                  </a:lnTo>
                  <a:lnTo>
                    <a:pt x="59" y="1"/>
                  </a:lnTo>
                  <a:lnTo>
                    <a:pt x="88" y="3"/>
                  </a:lnTo>
                  <a:lnTo>
                    <a:pt x="118" y="6"/>
                  </a:lnTo>
                  <a:lnTo>
                    <a:pt x="147" y="9"/>
                  </a:lnTo>
                  <a:lnTo>
                    <a:pt x="176" y="13"/>
                  </a:lnTo>
                  <a:lnTo>
                    <a:pt x="205" y="18"/>
                  </a:lnTo>
                  <a:lnTo>
                    <a:pt x="234" y="23"/>
                  </a:lnTo>
                  <a:lnTo>
                    <a:pt x="263" y="29"/>
                  </a:lnTo>
                  <a:lnTo>
                    <a:pt x="291" y="36"/>
                  </a:lnTo>
                  <a:lnTo>
                    <a:pt x="320" y="43"/>
                  </a:lnTo>
                  <a:lnTo>
                    <a:pt x="348" y="52"/>
                  </a:lnTo>
                  <a:lnTo>
                    <a:pt x="362" y="56"/>
                  </a:lnTo>
                  <a:lnTo>
                    <a:pt x="376" y="60"/>
                  </a:lnTo>
                  <a:lnTo>
                    <a:pt x="404" y="70"/>
                  </a:lnTo>
                  <a:lnTo>
                    <a:pt x="431" y="80"/>
                  </a:lnTo>
                  <a:lnTo>
                    <a:pt x="459" y="91"/>
                  </a:lnTo>
                  <a:lnTo>
                    <a:pt x="486" y="103"/>
                  </a:lnTo>
                  <a:lnTo>
                    <a:pt x="513" y="115"/>
                  </a:lnTo>
                  <a:lnTo>
                    <a:pt x="539" y="128"/>
                  </a:lnTo>
                  <a:lnTo>
                    <a:pt x="565" y="141"/>
                  </a:lnTo>
                  <a:lnTo>
                    <a:pt x="591" y="155"/>
                  </a:lnTo>
                  <a:lnTo>
                    <a:pt x="617" y="170"/>
                  </a:lnTo>
                  <a:lnTo>
                    <a:pt x="642" y="185"/>
                  </a:lnTo>
                  <a:lnTo>
                    <a:pt x="667" y="201"/>
                  </a:lnTo>
                  <a:lnTo>
                    <a:pt x="691" y="218"/>
                  </a:lnTo>
                  <a:lnTo>
                    <a:pt x="703" y="227"/>
                  </a:lnTo>
                  <a:lnTo>
                    <a:pt x="715" y="235"/>
                  </a:lnTo>
                  <a:lnTo>
                    <a:pt x="739" y="253"/>
                  </a:lnTo>
                  <a:lnTo>
                    <a:pt x="762" y="271"/>
                  </a:lnTo>
                  <a:lnTo>
                    <a:pt x="784" y="290"/>
                  </a:lnTo>
                  <a:lnTo>
                    <a:pt x="806" y="310"/>
                  </a:lnTo>
                  <a:lnTo>
                    <a:pt x="817" y="320"/>
                  </a:lnTo>
                  <a:lnTo>
                    <a:pt x="827" y="330"/>
                  </a:lnTo>
                  <a:lnTo>
                    <a:pt x="848" y="351"/>
                  </a:lnTo>
                  <a:lnTo>
                    <a:pt x="241" y="958"/>
                  </a:lnTo>
                  <a:lnTo>
                    <a:pt x="229" y="947"/>
                  </a:lnTo>
                  <a:lnTo>
                    <a:pt x="217" y="936"/>
                  </a:lnTo>
                  <a:lnTo>
                    <a:pt x="204" y="926"/>
                  </a:lnTo>
                  <a:lnTo>
                    <a:pt x="191" y="917"/>
                  </a:lnTo>
                  <a:lnTo>
                    <a:pt x="177" y="908"/>
                  </a:lnTo>
                  <a:lnTo>
                    <a:pt x="162" y="900"/>
                  </a:lnTo>
                  <a:lnTo>
                    <a:pt x="148" y="892"/>
                  </a:lnTo>
                  <a:lnTo>
                    <a:pt x="133" y="885"/>
                  </a:lnTo>
                  <a:lnTo>
                    <a:pt x="125" y="882"/>
                  </a:lnTo>
                  <a:lnTo>
                    <a:pt x="117" y="879"/>
                  </a:lnTo>
                  <a:lnTo>
                    <a:pt x="101" y="874"/>
                  </a:lnTo>
                  <a:lnTo>
                    <a:pt x="93" y="872"/>
                  </a:lnTo>
                  <a:lnTo>
                    <a:pt x="85" y="869"/>
                  </a:lnTo>
                  <a:lnTo>
                    <a:pt x="69" y="866"/>
                  </a:lnTo>
                  <a:lnTo>
                    <a:pt x="61" y="864"/>
                  </a:lnTo>
                  <a:lnTo>
                    <a:pt x="52" y="863"/>
                  </a:lnTo>
                  <a:lnTo>
                    <a:pt x="35" y="861"/>
                  </a:lnTo>
                  <a:lnTo>
                    <a:pt x="18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3" name="Freeform 129"/>
            <p:cNvSpPr>
              <a:spLocks noChangeAspect="1"/>
            </p:cNvSpPr>
            <p:nvPr/>
          </p:nvSpPr>
          <p:spPr bwMode="auto">
            <a:xfrm>
              <a:off x="6962782" y="4286282"/>
              <a:ext cx="742951" cy="657226"/>
            </a:xfrm>
            <a:custGeom>
              <a:avLst/>
              <a:gdLst/>
              <a:ahLst/>
              <a:cxnLst>
                <a:cxn ang="0">
                  <a:pos x="0" y="607"/>
                </a:cxn>
                <a:cxn ang="0">
                  <a:pos x="607" y="0"/>
                </a:cxn>
                <a:cxn ang="0">
                  <a:pos x="628" y="21"/>
                </a:cxn>
                <a:cxn ang="0">
                  <a:pos x="648" y="42"/>
                </a:cxn>
                <a:cxn ang="0">
                  <a:pos x="668" y="64"/>
                </a:cxn>
                <a:cxn ang="0">
                  <a:pos x="687" y="87"/>
                </a:cxn>
                <a:cxn ang="0">
                  <a:pos x="705" y="110"/>
                </a:cxn>
                <a:cxn ang="0">
                  <a:pos x="723" y="133"/>
                </a:cxn>
                <a:cxn ang="0">
                  <a:pos x="740" y="157"/>
                </a:cxn>
                <a:cxn ang="0">
                  <a:pos x="748" y="169"/>
                </a:cxn>
                <a:cxn ang="0">
                  <a:pos x="756" y="181"/>
                </a:cxn>
                <a:cxn ang="0">
                  <a:pos x="772" y="206"/>
                </a:cxn>
                <a:cxn ang="0">
                  <a:pos x="788" y="231"/>
                </a:cxn>
                <a:cxn ang="0">
                  <a:pos x="803" y="257"/>
                </a:cxn>
                <a:cxn ang="0">
                  <a:pos x="817" y="283"/>
                </a:cxn>
                <a:cxn ang="0">
                  <a:pos x="830" y="309"/>
                </a:cxn>
                <a:cxn ang="0">
                  <a:pos x="843" y="336"/>
                </a:cxn>
                <a:cxn ang="0">
                  <a:pos x="856" y="362"/>
                </a:cxn>
                <a:cxn ang="0">
                  <a:pos x="867" y="389"/>
                </a:cxn>
                <a:cxn ang="0">
                  <a:pos x="878" y="417"/>
                </a:cxn>
                <a:cxn ang="0">
                  <a:pos x="888" y="444"/>
                </a:cxn>
                <a:cxn ang="0">
                  <a:pos x="898" y="472"/>
                </a:cxn>
                <a:cxn ang="0">
                  <a:pos x="907" y="500"/>
                </a:cxn>
                <a:cxn ang="0">
                  <a:pos x="915" y="528"/>
                </a:cxn>
                <a:cxn ang="0">
                  <a:pos x="923" y="557"/>
                </a:cxn>
                <a:cxn ang="0">
                  <a:pos x="930" y="585"/>
                </a:cxn>
                <a:cxn ang="0">
                  <a:pos x="936" y="614"/>
                </a:cxn>
                <a:cxn ang="0">
                  <a:pos x="941" y="643"/>
                </a:cxn>
                <a:cxn ang="0">
                  <a:pos x="946" y="672"/>
                </a:cxn>
                <a:cxn ang="0">
                  <a:pos x="950" y="701"/>
                </a:cxn>
                <a:cxn ang="0">
                  <a:pos x="953" y="730"/>
                </a:cxn>
                <a:cxn ang="0">
                  <a:pos x="956" y="760"/>
                </a:cxn>
                <a:cxn ang="0">
                  <a:pos x="957" y="789"/>
                </a:cxn>
                <a:cxn ang="0">
                  <a:pos x="958" y="818"/>
                </a:cxn>
                <a:cxn ang="0">
                  <a:pos x="958" y="848"/>
                </a:cxn>
                <a:cxn ang="0">
                  <a:pos x="529" y="848"/>
                </a:cxn>
                <a:cxn ang="0">
                  <a:pos x="99" y="848"/>
                </a:cxn>
                <a:cxn ang="0">
                  <a:pos x="99" y="830"/>
                </a:cxn>
                <a:cxn ang="0">
                  <a:pos x="98" y="813"/>
                </a:cxn>
                <a:cxn ang="0">
                  <a:pos x="97" y="805"/>
                </a:cxn>
                <a:cxn ang="0">
                  <a:pos x="96" y="796"/>
                </a:cxn>
                <a:cxn ang="0">
                  <a:pos x="94" y="788"/>
                </a:cxn>
                <a:cxn ang="0">
                  <a:pos x="93" y="779"/>
                </a:cxn>
                <a:cxn ang="0">
                  <a:pos x="89" y="763"/>
                </a:cxn>
                <a:cxn ang="0">
                  <a:pos x="84" y="747"/>
                </a:cxn>
                <a:cxn ang="0">
                  <a:pos x="79" y="731"/>
                </a:cxn>
                <a:cxn ang="0">
                  <a:pos x="73" y="716"/>
                </a:cxn>
                <a:cxn ang="0">
                  <a:pos x="66" y="700"/>
                </a:cxn>
                <a:cxn ang="0">
                  <a:pos x="58" y="686"/>
                </a:cxn>
                <a:cxn ang="0">
                  <a:pos x="50" y="672"/>
                </a:cxn>
                <a:cxn ang="0">
                  <a:pos x="41" y="658"/>
                </a:cxn>
                <a:cxn ang="0">
                  <a:pos x="32" y="644"/>
                </a:cxn>
                <a:cxn ang="0">
                  <a:pos x="22" y="632"/>
                </a:cxn>
                <a:cxn ang="0">
                  <a:pos x="11" y="619"/>
                </a:cxn>
                <a:cxn ang="0">
                  <a:pos x="0" y="607"/>
                </a:cxn>
              </a:cxnLst>
              <a:rect l="0" t="0" r="r" b="b"/>
              <a:pathLst>
                <a:path w="958" h="848">
                  <a:moveTo>
                    <a:pt x="0" y="607"/>
                  </a:moveTo>
                  <a:lnTo>
                    <a:pt x="607" y="0"/>
                  </a:lnTo>
                  <a:lnTo>
                    <a:pt x="628" y="21"/>
                  </a:lnTo>
                  <a:lnTo>
                    <a:pt x="648" y="42"/>
                  </a:lnTo>
                  <a:lnTo>
                    <a:pt x="668" y="64"/>
                  </a:lnTo>
                  <a:lnTo>
                    <a:pt x="687" y="87"/>
                  </a:lnTo>
                  <a:lnTo>
                    <a:pt x="705" y="110"/>
                  </a:lnTo>
                  <a:lnTo>
                    <a:pt x="723" y="133"/>
                  </a:lnTo>
                  <a:lnTo>
                    <a:pt x="740" y="157"/>
                  </a:lnTo>
                  <a:lnTo>
                    <a:pt x="748" y="169"/>
                  </a:lnTo>
                  <a:lnTo>
                    <a:pt x="756" y="181"/>
                  </a:lnTo>
                  <a:lnTo>
                    <a:pt x="772" y="206"/>
                  </a:lnTo>
                  <a:lnTo>
                    <a:pt x="788" y="231"/>
                  </a:lnTo>
                  <a:lnTo>
                    <a:pt x="803" y="257"/>
                  </a:lnTo>
                  <a:lnTo>
                    <a:pt x="817" y="283"/>
                  </a:lnTo>
                  <a:lnTo>
                    <a:pt x="830" y="309"/>
                  </a:lnTo>
                  <a:lnTo>
                    <a:pt x="843" y="336"/>
                  </a:lnTo>
                  <a:lnTo>
                    <a:pt x="856" y="362"/>
                  </a:lnTo>
                  <a:lnTo>
                    <a:pt x="867" y="389"/>
                  </a:lnTo>
                  <a:lnTo>
                    <a:pt x="878" y="417"/>
                  </a:lnTo>
                  <a:lnTo>
                    <a:pt x="888" y="444"/>
                  </a:lnTo>
                  <a:lnTo>
                    <a:pt x="898" y="472"/>
                  </a:lnTo>
                  <a:lnTo>
                    <a:pt x="907" y="500"/>
                  </a:lnTo>
                  <a:lnTo>
                    <a:pt x="915" y="528"/>
                  </a:lnTo>
                  <a:lnTo>
                    <a:pt x="923" y="557"/>
                  </a:lnTo>
                  <a:lnTo>
                    <a:pt x="930" y="585"/>
                  </a:lnTo>
                  <a:lnTo>
                    <a:pt x="936" y="614"/>
                  </a:lnTo>
                  <a:lnTo>
                    <a:pt x="941" y="643"/>
                  </a:lnTo>
                  <a:lnTo>
                    <a:pt x="946" y="672"/>
                  </a:lnTo>
                  <a:lnTo>
                    <a:pt x="950" y="701"/>
                  </a:lnTo>
                  <a:lnTo>
                    <a:pt x="953" y="730"/>
                  </a:lnTo>
                  <a:lnTo>
                    <a:pt x="956" y="760"/>
                  </a:lnTo>
                  <a:lnTo>
                    <a:pt x="957" y="789"/>
                  </a:lnTo>
                  <a:lnTo>
                    <a:pt x="958" y="818"/>
                  </a:lnTo>
                  <a:lnTo>
                    <a:pt x="958" y="848"/>
                  </a:lnTo>
                  <a:lnTo>
                    <a:pt x="529" y="848"/>
                  </a:lnTo>
                  <a:lnTo>
                    <a:pt x="99" y="848"/>
                  </a:lnTo>
                  <a:lnTo>
                    <a:pt x="99" y="830"/>
                  </a:lnTo>
                  <a:lnTo>
                    <a:pt x="98" y="813"/>
                  </a:lnTo>
                  <a:lnTo>
                    <a:pt x="97" y="805"/>
                  </a:lnTo>
                  <a:lnTo>
                    <a:pt x="96" y="796"/>
                  </a:lnTo>
                  <a:lnTo>
                    <a:pt x="94" y="788"/>
                  </a:lnTo>
                  <a:lnTo>
                    <a:pt x="93" y="779"/>
                  </a:lnTo>
                  <a:lnTo>
                    <a:pt x="89" y="763"/>
                  </a:lnTo>
                  <a:lnTo>
                    <a:pt x="84" y="747"/>
                  </a:lnTo>
                  <a:lnTo>
                    <a:pt x="79" y="731"/>
                  </a:lnTo>
                  <a:lnTo>
                    <a:pt x="73" y="716"/>
                  </a:lnTo>
                  <a:lnTo>
                    <a:pt x="66" y="700"/>
                  </a:lnTo>
                  <a:lnTo>
                    <a:pt x="58" y="686"/>
                  </a:lnTo>
                  <a:lnTo>
                    <a:pt x="50" y="672"/>
                  </a:lnTo>
                  <a:lnTo>
                    <a:pt x="41" y="658"/>
                  </a:lnTo>
                  <a:lnTo>
                    <a:pt x="32" y="644"/>
                  </a:lnTo>
                  <a:lnTo>
                    <a:pt x="22" y="632"/>
                  </a:lnTo>
                  <a:lnTo>
                    <a:pt x="11" y="619"/>
                  </a:lnTo>
                  <a:lnTo>
                    <a:pt x="0" y="607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4" name="Freeform 130"/>
            <p:cNvSpPr>
              <a:spLocks noChangeAspect="1"/>
            </p:cNvSpPr>
            <p:nvPr/>
          </p:nvSpPr>
          <p:spPr bwMode="auto">
            <a:xfrm>
              <a:off x="6962782" y="4943509"/>
              <a:ext cx="742951" cy="657226"/>
            </a:xfrm>
            <a:custGeom>
              <a:avLst/>
              <a:gdLst/>
              <a:ahLst/>
              <a:cxnLst>
                <a:cxn ang="0">
                  <a:pos x="99" y="0"/>
                </a:cxn>
                <a:cxn ang="0">
                  <a:pos x="529" y="0"/>
                </a:cxn>
                <a:cxn ang="0">
                  <a:pos x="958" y="0"/>
                </a:cxn>
                <a:cxn ang="0">
                  <a:pos x="958" y="29"/>
                </a:cxn>
                <a:cxn ang="0">
                  <a:pos x="957" y="59"/>
                </a:cxn>
                <a:cxn ang="0">
                  <a:pos x="955" y="88"/>
                </a:cxn>
                <a:cxn ang="0">
                  <a:pos x="953" y="117"/>
                </a:cxn>
                <a:cxn ang="0">
                  <a:pos x="949" y="147"/>
                </a:cxn>
                <a:cxn ang="0">
                  <a:pos x="945" y="176"/>
                </a:cxn>
                <a:cxn ang="0">
                  <a:pos x="941" y="205"/>
                </a:cxn>
                <a:cxn ang="0">
                  <a:pos x="935" y="234"/>
                </a:cxn>
                <a:cxn ang="0">
                  <a:pos x="929" y="262"/>
                </a:cxn>
                <a:cxn ang="0">
                  <a:pos x="922" y="291"/>
                </a:cxn>
                <a:cxn ang="0">
                  <a:pos x="915" y="319"/>
                </a:cxn>
                <a:cxn ang="0">
                  <a:pos x="907" y="348"/>
                </a:cxn>
                <a:cxn ang="0">
                  <a:pos x="902" y="362"/>
                </a:cxn>
                <a:cxn ang="0">
                  <a:pos x="898" y="376"/>
                </a:cxn>
                <a:cxn ang="0">
                  <a:pos x="888" y="404"/>
                </a:cxn>
                <a:cxn ang="0">
                  <a:pos x="878" y="431"/>
                </a:cxn>
                <a:cxn ang="0">
                  <a:pos x="867" y="458"/>
                </a:cxn>
                <a:cxn ang="0">
                  <a:pos x="856" y="485"/>
                </a:cxn>
                <a:cxn ang="0">
                  <a:pos x="843" y="512"/>
                </a:cxn>
                <a:cxn ang="0">
                  <a:pos x="831" y="539"/>
                </a:cxn>
                <a:cxn ang="0">
                  <a:pos x="817" y="565"/>
                </a:cxn>
                <a:cxn ang="0">
                  <a:pos x="803" y="591"/>
                </a:cxn>
                <a:cxn ang="0">
                  <a:pos x="788" y="617"/>
                </a:cxn>
                <a:cxn ang="0">
                  <a:pos x="773" y="642"/>
                </a:cxn>
                <a:cxn ang="0">
                  <a:pos x="757" y="667"/>
                </a:cxn>
                <a:cxn ang="0">
                  <a:pos x="740" y="691"/>
                </a:cxn>
                <a:cxn ang="0">
                  <a:pos x="732" y="703"/>
                </a:cxn>
                <a:cxn ang="0">
                  <a:pos x="723" y="715"/>
                </a:cxn>
                <a:cxn ang="0">
                  <a:pos x="705" y="738"/>
                </a:cxn>
                <a:cxn ang="0">
                  <a:pos x="687" y="761"/>
                </a:cxn>
                <a:cxn ang="0">
                  <a:pos x="668" y="784"/>
                </a:cxn>
                <a:cxn ang="0">
                  <a:pos x="648" y="806"/>
                </a:cxn>
                <a:cxn ang="0">
                  <a:pos x="638" y="816"/>
                </a:cxn>
                <a:cxn ang="0">
                  <a:pos x="628" y="827"/>
                </a:cxn>
                <a:cxn ang="0">
                  <a:pos x="607" y="848"/>
                </a:cxn>
                <a:cxn ang="0">
                  <a:pos x="0" y="240"/>
                </a:cxn>
                <a:cxn ang="0">
                  <a:pos x="11" y="229"/>
                </a:cxn>
                <a:cxn ang="0">
                  <a:pos x="22" y="216"/>
                </a:cxn>
                <a:cxn ang="0">
                  <a:pos x="32" y="203"/>
                </a:cxn>
                <a:cxn ang="0">
                  <a:pos x="41" y="190"/>
                </a:cxn>
                <a:cxn ang="0">
                  <a:pos x="50" y="176"/>
                </a:cxn>
                <a:cxn ang="0">
                  <a:pos x="58" y="162"/>
                </a:cxn>
                <a:cxn ang="0">
                  <a:pos x="66" y="147"/>
                </a:cxn>
                <a:cxn ang="0">
                  <a:pos x="73" y="132"/>
                </a:cxn>
                <a:cxn ang="0">
                  <a:pos x="76" y="125"/>
                </a:cxn>
                <a:cxn ang="0">
                  <a:pos x="79" y="117"/>
                </a:cxn>
                <a:cxn ang="0">
                  <a:pos x="84" y="101"/>
                </a:cxn>
                <a:cxn ang="0">
                  <a:pos x="87" y="93"/>
                </a:cxn>
                <a:cxn ang="0">
                  <a:pos x="89" y="85"/>
                </a:cxn>
                <a:cxn ang="0">
                  <a:pos x="93" y="68"/>
                </a:cxn>
                <a:cxn ang="0">
                  <a:pos x="94" y="60"/>
                </a:cxn>
                <a:cxn ang="0">
                  <a:pos x="96" y="52"/>
                </a:cxn>
                <a:cxn ang="0">
                  <a:pos x="98" y="35"/>
                </a:cxn>
                <a:cxn ang="0">
                  <a:pos x="99" y="17"/>
                </a:cxn>
                <a:cxn ang="0">
                  <a:pos x="99" y="0"/>
                </a:cxn>
              </a:cxnLst>
              <a:rect l="0" t="0" r="r" b="b"/>
              <a:pathLst>
                <a:path w="958" h="848">
                  <a:moveTo>
                    <a:pt x="99" y="0"/>
                  </a:moveTo>
                  <a:lnTo>
                    <a:pt x="529" y="0"/>
                  </a:lnTo>
                  <a:lnTo>
                    <a:pt x="958" y="0"/>
                  </a:lnTo>
                  <a:lnTo>
                    <a:pt x="958" y="29"/>
                  </a:lnTo>
                  <a:lnTo>
                    <a:pt x="957" y="59"/>
                  </a:lnTo>
                  <a:lnTo>
                    <a:pt x="955" y="88"/>
                  </a:lnTo>
                  <a:lnTo>
                    <a:pt x="953" y="117"/>
                  </a:lnTo>
                  <a:lnTo>
                    <a:pt x="949" y="147"/>
                  </a:lnTo>
                  <a:lnTo>
                    <a:pt x="945" y="176"/>
                  </a:lnTo>
                  <a:lnTo>
                    <a:pt x="941" y="205"/>
                  </a:lnTo>
                  <a:lnTo>
                    <a:pt x="935" y="234"/>
                  </a:lnTo>
                  <a:lnTo>
                    <a:pt x="929" y="262"/>
                  </a:lnTo>
                  <a:lnTo>
                    <a:pt x="922" y="291"/>
                  </a:lnTo>
                  <a:lnTo>
                    <a:pt x="915" y="319"/>
                  </a:lnTo>
                  <a:lnTo>
                    <a:pt x="907" y="348"/>
                  </a:lnTo>
                  <a:lnTo>
                    <a:pt x="902" y="362"/>
                  </a:lnTo>
                  <a:lnTo>
                    <a:pt x="898" y="376"/>
                  </a:lnTo>
                  <a:lnTo>
                    <a:pt x="888" y="404"/>
                  </a:lnTo>
                  <a:lnTo>
                    <a:pt x="878" y="431"/>
                  </a:lnTo>
                  <a:lnTo>
                    <a:pt x="867" y="458"/>
                  </a:lnTo>
                  <a:lnTo>
                    <a:pt x="856" y="485"/>
                  </a:lnTo>
                  <a:lnTo>
                    <a:pt x="843" y="512"/>
                  </a:lnTo>
                  <a:lnTo>
                    <a:pt x="831" y="539"/>
                  </a:lnTo>
                  <a:lnTo>
                    <a:pt x="817" y="565"/>
                  </a:lnTo>
                  <a:lnTo>
                    <a:pt x="803" y="591"/>
                  </a:lnTo>
                  <a:lnTo>
                    <a:pt x="788" y="617"/>
                  </a:lnTo>
                  <a:lnTo>
                    <a:pt x="773" y="642"/>
                  </a:lnTo>
                  <a:lnTo>
                    <a:pt x="757" y="667"/>
                  </a:lnTo>
                  <a:lnTo>
                    <a:pt x="740" y="691"/>
                  </a:lnTo>
                  <a:lnTo>
                    <a:pt x="732" y="703"/>
                  </a:lnTo>
                  <a:lnTo>
                    <a:pt x="723" y="715"/>
                  </a:lnTo>
                  <a:lnTo>
                    <a:pt x="705" y="738"/>
                  </a:lnTo>
                  <a:lnTo>
                    <a:pt x="687" y="761"/>
                  </a:lnTo>
                  <a:lnTo>
                    <a:pt x="668" y="784"/>
                  </a:lnTo>
                  <a:lnTo>
                    <a:pt x="648" y="806"/>
                  </a:lnTo>
                  <a:lnTo>
                    <a:pt x="638" y="816"/>
                  </a:lnTo>
                  <a:lnTo>
                    <a:pt x="628" y="827"/>
                  </a:lnTo>
                  <a:lnTo>
                    <a:pt x="607" y="848"/>
                  </a:lnTo>
                  <a:lnTo>
                    <a:pt x="0" y="240"/>
                  </a:lnTo>
                  <a:lnTo>
                    <a:pt x="11" y="229"/>
                  </a:lnTo>
                  <a:lnTo>
                    <a:pt x="22" y="216"/>
                  </a:lnTo>
                  <a:lnTo>
                    <a:pt x="32" y="203"/>
                  </a:lnTo>
                  <a:lnTo>
                    <a:pt x="41" y="190"/>
                  </a:lnTo>
                  <a:lnTo>
                    <a:pt x="50" y="176"/>
                  </a:lnTo>
                  <a:lnTo>
                    <a:pt x="58" y="162"/>
                  </a:lnTo>
                  <a:lnTo>
                    <a:pt x="66" y="147"/>
                  </a:lnTo>
                  <a:lnTo>
                    <a:pt x="73" y="132"/>
                  </a:lnTo>
                  <a:lnTo>
                    <a:pt x="76" y="125"/>
                  </a:lnTo>
                  <a:lnTo>
                    <a:pt x="79" y="117"/>
                  </a:lnTo>
                  <a:lnTo>
                    <a:pt x="84" y="101"/>
                  </a:lnTo>
                  <a:lnTo>
                    <a:pt x="87" y="93"/>
                  </a:lnTo>
                  <a:lnTo>
                    <a:pt x="89" y="85"/>
                  </a:lnTo>
                  <a:lnTo>
                    <a:pt x="93" y="68"/>
                  </a:lnTo>
                  <a:lnTo>
                    <a:pt x="94" y="60"/>
                  </a:lnTo>
                  <a:lnTo>
                    <a:pt x="96" y="52"/>
                  </a:lnTo>
                  <a:lnTo>
                    <a:pt x="98" y="35"/>
                  </a:lnTo>
                  <a:lnTo>
                    <a:pt x="99" y="17"/>
                  </a:lnTo>
                  <a:lnTo>
                    <a:pt x="99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5" name="Freeform 131"/>
            <p:cNvSpPr>
              <a:spLocks noChangeAspect="1"/>
            </p:cNvSpPr>
            <p:nvPr/>
          </p:nvSpPr>
          <p:spPr bwMode="auto">
            <a:xfrm>
              <a:off x="6775457" y="5129246"/>
              <a:ext cx="657226" cy="744539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848" y="608"/>
                </a:cxn>
                <a:cxn ang="0">
                  <a:pos x="827" y="629"/>
                </a:cxn>
                <a:cxn ang="0">
                  <a:pos x="806" y="649"/>
                </a:cxn>
                <a:cxn ang="0">
                  <a:pos x="784" y="668"/>
                </a:cxn>
                <a:cxn ang="0">
                  <a:pos x="761" y="687"/>
                </a:cxn>
                <a:cxn ang="0">
                  <a:pos x="738" y="705"/>
                </a:cxn>
                <a:cxn ang="0">
                  <a:pos x="715" y="723"/>
                </a:cxn>
                <a:cxn ang="0">
                  <a:pos x="691" y="740"/>
                </a:cxn>
                <a:cxn ang="0">
                  <a:pos x="679" y="749"/>
                </a:cxn>
                <a:cxn ang="0">
                  <a:pos x="667" y="757"/>
                </a:cxn>
                <a:cxn ang="0">
                  <a:pos x="642" y="773"/>
                </a:cxn>
                <a:cxn ang="0">
                  <a:pos x="617" y="788"/>
                </a:cxn>
                <a:cxn ang="0">
                  <a:pos x="591" y="803"/>
                </a:cxn>
                <a:cxn ang="0">
                  <a:pos x="565" y="817"/>
                </a:cxn>
                <a:cxn ang="0">
                  <a:pos x="539" y="831"/>
                </a:cxn>
                <a:cxn ang="0">
                  <a:pos x="513" y="844"/>
                </a:cxn>
                <a:cxn ang="0">
                  <a:pos x="486" y="856"/>
                </a:cxn>
                <a:cxn ang="0">
                  <a:pos x="459" y="868"/>
                </a:cxn>
                <a:cxn ang="0">
                  <a:pos x="432" y="879"/>
                </a:cxn>
                <a:cxn ang="0">
                  <a:pos x="404" y="889"/>
                </a:cxn>
                <a:cxn ang="0">
                  <a:pos x="376" y="899"/>
                </a:cxn>
                <a:cxn ang="0">
                  <a:pos x="348" y="908"/>
                </a:cxn>
                <a:cxn ang="0">
                  <a:pos x="320" y="916"/>
                </a:cxn>
                <a:cxn ang="0">
                  <a:pos x="292" y="923"/>
                </a:cxn>
                <a:cxn ang="0">
                  <a:pos x="263" y="930"/>
                </a:cxn>
                <a:cxn ang="0">
                  <a:pos x="234" y="936"/>
                </a:cxn>
                <a:cxn ang="0">
                  <a:pos x="205" y="942"/>
                </a:cxn>
                <a:cxn ang="0">
                  <a:pos x="176" y="946"/>
                </a:cxn>
                <a:cxn ang="0">
                  <a:pos x="147" y="950"/>
                </a:cxn>
                <a:cxn ang="0">
                  <a:pos x="118" y="954"/>
                </a:cxn>
                <a:cxn ang="0">
                  <a:pos x="89" y="956"/>
                </a:cxn>
                <a:cxn ang="0">
                  <a:pos x="59" y="958"/>
                </a:cxn>
                <a:cxn ang="0">
                  <a:pos x="30" y="959"/>
                </a:cxn>
                <a:cxn ang="0">
                  <a:pos x="0" y="959"/>
                </a:cxn>
                <a:cxn ang="0">
                  <a:pos x="0" y="530"/>
                </a:cxn>
                <a:cxn ang="0">
                  <a:pos x="0" y="100"/>
                </a:cxn>
                <a:cxn ang="0">
                  <a:pos x="18" y="100"/>
                </a:cxn>
                <a:cxn ang="0">
                  <a:pos x="35" y="98"/>
                </a:cxn>
                <a:cxn ang="0">
                  <a:pos x="44" y="97"/>
                </a:cxn>
                <a:cxn ang="0">
                  <a:pos x="52" y="96"/>
                </a:cxn>
                <a:cxn ang="0">
                  <a:pos x="61" y="95"/>
                </a:cxn>
                <a:cxn ang="0">
                  <a:pos x="69" y="93"/>
                </a:cxn>
                <a:cxn ang="0">
                  <a:pos x="85" y="89"/>
                </a:cxn>
                <a:cxn ang="0">
                  <a:pos x="101" y="85"/>
                </a:cxn>
                <a:cxn ang="0">
                  <a:pos x="117" y="79"/>
                </a:cxn>
                <a:cxn ang="0">
                  <a:pos x="133" y="73"/>
                </a:cxn>
                <a:cxn ang="0">
                  <a:pos x="148" y="67"/>
                </a:cxn>
                <a:cxn ang="0">
                  <a:pos x="162" y="59"/>
                </a:cxn>
                <a:cxn ang="0">
                  <a:pos x="177" y="51"/>
                </a:cxn>
                <a:cxn ang="0">
                  <a:pos x="191" y="42"/>
                </a:cxn>
                <a:cxn ang="0">
                  <a:pos x="204" y="33"/>
                </a:cxn>
                <a:cxn ang="0">
                  <a:pos x="217" y="22"/>
                </a:cxn>
                <a:cxn ang="0">
                  <a:pos x="229" y="12"/>
                </a:cxn>
                <a:cxn ang="0">
                  <a:pos x="241" y="0"/>
                </a:cxn>
              </a:cxnLst>
              <a:rect l="0" t="0" r="r" b="b"/>
              <a:pathLst>
                <a:path w="848" h="959">
                  <a:moveTo>
                    <a:pt x="241" y="0"/>
                  </a:moveTo>
                  <a:lnTo>
                    <a:pt x="848" y="608"/>
                  </a:lnTo>
                  <a:lnTo>
                    <a:pt x="827" y="629"/>
                  </a:lnTo>
                  <a:lnTo>
                    <a:pt x="806" y="649"/>
                  </a:lnTo>
                  <a:lnTo>
                    <a:pt x="784" y="668"/>
                  </a:lnTo>
                  <a:lnTo>
                    <a:pt x="761" y="687"/>
                  </a:lnTo>
                  <a:lnTo>
                    <a:pt x="738" y="705"/>
                  </a:lnTo>
                  <a:lnTo>
                    <a:pt x="715" y="723"/>
                  </a:lnTo>
                  <a:lnTo>
                    <a:pt x="691" y="740"/>
                  </a:lnTo>
                  <a:lnTo>
                    <a:pt x="679" y="749"/>
                  </a:lnTo>
                  <a:lnTo>
                    <a:pt x="667" y="757"/>
                  </a:lnTo>
                  <a:lnTo>
                    <a:pt x="642" y="773"/>
                  </a:lnTo>
                  <a:lnTo>
                    <a:pt x="617" y="788"/>
                  </a:lnTo>
                  <a:lnTo>
                    <a:pt x="591" y="803"/>
                  </a:lnTo>
                  <a:lnTo>
                    <a:pt x="565" y="817"/>
                  </a:lnTo>
                  <a:lnTo>
                    <a:pt x="539" y="831"/>
                  </a:lnTo>
                  <a:lnTo>
                    <a:pt x="513" y="844"/>
                  </a:lnTo>
                  <a:lnTo>
                    <a:pt x="486" y="856"/>
                  </a:lnTo>
                  <a:lnTo>
                    <a:pt x="459" y="868"/>
                  </a:lnTo>
                  <a:lnTo>
                    <a:pt x="432" y="879"/>
                  </a:lnTo>
                  <a:lnTo>
                    <a:pt x="404" y="889"/>
                  </a:lnTo>
                  <a:lnTo>
                    <a:pt x="376" y="899"/>
                  </a:lnTo>
                  <a:lnTo>
                    <a:pt x="348" y="908"/>
                  </a:lnTo>
                  <a:lnTo>
                    <a:pt x="320" y="916"/>
                  </a:lnTo>
                  <a:lnTo>
                    <a:pt x="292" y="923"/>
                  </a:lnTo>
                  <a:lnTo>
                    <a:pt x="263" y="930"/>
                  </a:lnTo>
                  <a:lnTo>
                    <a:pt x="234" y="936"/>
                  </a:lnTo>
                  <a:lnTo>
                    <a:pt x="205" y="942"/>
                  </a:lnTo>
                  <a:lnTo>
                    <a:pt x="176" y="946"/>
                  </a:lnTo>
                  <a:lnTo>
                    <a:pt x="147" y="950"/>
                  </a:lnTo>
                  <a:lnTo>
                    <a:pt x="118" y="954"/>
                  </a:lnTo>
                  <a:lnTo>
                    <a:pt x="89" y="956"/>
                  </a:lnTo>
                  <a:lnTo>
                    <a:pt x="59" y="958"/>
                  </a:lnTo>
                  <a:lnTo>
                    <a:pt x="30" y="959"/>
                  </a:lnTo>
                  <a:lnTo>
                    <a:pt x="0" y="959"/>
                  </a:lnTo>
                  <a:lnTo>
                    <a:pt x="0" y="530"/>
                  </a:lnTo>
                  <a:lnTo>
                    <a:pt x="0" y="100"/>
                  </a:lnTo>
                  <a:lnTo>
                    <a:pt x="18" y="100"/>
                  </a:lnTo>
                  <a:lnTo>
                    <a:pt x="35" y="98"/>
                  </a:lnTo>
                  <a:lnTo>
                    <a:pt x="44" y="97"/>
                  </a:lnTo>
                  <a:lnTo>
                    <a:pt x="52" y="96"/>
                  </a:lnTo>
                  <a:lnTo>
                    <a:pt x="61" y="95"/>
                  </a:lnTo>
                  <a:lnTo>
                    <a:pt x="69" y="93"/>
                  </a:lnTo>
                  <a:lnTo>
                    <a:pt x="85" y="89"/>
                  </a:lnTo>
                  <a:lnTo>
                    <a:pt x="101" y="85"/>
                  </a:lnTo>
                  <a:lnTo>
                    <a:pt x="117" y="79"/>
                  </a:lnTo>
                  <a:lnTo>
                    <a:pt x="133" y="73"/>
                  </a:lnTo>
                  <a:lnTo>
                    <a:pt x="148" y="67"/>
                  </a:lnTo>
                  <a:lnTo>
                    <a:pt x="162" y="59"/>
                  </a:lnTo>
                  <a:lnTo>
                    <a:pt x="177" y="51"/>
                  </a:lnTo>
                  <a:lnTo>
                    <a:pt x="191" y="42"/>
                  </a:lnTo>
                  <a:lnTo>
                    <a:pt x="204" y="33"/>
                  </a:lnTo>
                  <a:lnTo>
                    <a:pt x="217" y="22"/>
                  </a:lnTo>
                  <a:lnTo>
                    <a:pt x="229" y="12"/>
                  </a:lnTo>
                  <a:lnTo>
                    <a:pt x="241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6" name="Freeform 132"/>
            <p:cNvSpPr>
              <a:spLocks noChangeAspect="1"/>
            </p:cNvSpPr>
            <p:nvPr/>
          </p:nvSpPr>
          <p:spPr bwMode="auto">
            <a:xfrm>
              <a:off x="6118231" y="5129246"/>
              <a:ext cx="657226" cy="744539"/>
            </a:xfrm>
            <a:custGeom>
              <a:avLst/>
              <a:gdLst/>
              <a:ahLst/>
              <a:cxnLst>
                <a:cxn ang="0">
                  <a:pos x="848" y="100"/>
                </a:cxn>
                <a:cxn ang="0">
                  <a:pos x="848" y="530"/>
                </a:cxn>
                <a:cxn ang="0">
                  <a:pos x="848" y="959"/>
                </a:cxn>
                <a:cxn ang="0">
                  <a:pos x="819" y="959"/>
                </a:cxn>
                <a:cxn ang="0">
                  <a:pos x="790" y="958"/>
                </a:cxn>
                <a:cxn ang="0">
                  <a:pos x="760" y="956"/>
                </a:cxn>
                <a:cxn ang="0">
                  <a:pos x="731" y="953"/>
                </a:cxn>
                <a:cxn ang="0">
                  <a:pos x="702" y="950"/>
                </a:cxn>
                <a:cxn ang="0">
                  <a:pos x="673" y="946"/>
                </a:cxn>
                <a:cxn ang="0">
                  <a:pos x="644" y="941"/>
                </a:cxn>
                <a:cxn ang="0">
                  <a:pos x="615" y="936"/>
                </a:cxn>
                <a:cxn ang="0">
                  <a:pos x="586" y="930"/>
                </a:cxn>
                <a:cxn ang="0">
                  <a:pos x="557" y="923"/>
                </a:cxn>
                <a:cxn ang="0">
                  <a:pos x="529" y="915"/>
                </a:cxn>
                <a:cxn ang="0">
                  <a:pos x="501" y="907"/>
                </a:cxn>
                <a:cxn ang="0">
                  <a:pos x="487" y="903"/>
                </a:cxn>
                <a:cxn ang="0">
                  <a:pos x="473" y="898"/>
                </a:cxn>
                <a:cxn ang="0">
                  <a:pos x="445" y="889"/>
                </a:cxn>
                <a:cxn ang="0">
                  <a:pos x="417" y="879"/>
                </a:cxn>
                <a:cxn ang="0">
                  <a:pos x="390" y="868"/>
                </a:cxn>
                <a:cxn ang="0">
                  <a:pos x="363" y="856"/>
                </a:cxn>
                <a:cxn ang="0">
                  <a:pos x="336" y="844"/>
                </a:cxn>
                <a:cxn ang="0">
                  <a:pos x="310" y="831"/>
                </a:cxn>
                <a:cxn ang="0">
                  <a:pos x="284" y="818"/>
                </a:cxn>
                <a:cxn ang="0">
                  <a:pos x="258" y="804"/>
                </a:cxn>
                <a:cxn ang="0">
                  <a:pos x="231" y="789"/>
                </a:cxn>
                <a:cxn ang="0">
                  <a:pos x="206" y="773"/>
                </a:cxn>
                <a:cxn ang="0">
                  <a:pos x="182" y="757"/>
                </a:cxn>
                <a:cxn ang="0">
                  <a:pos x="157" y="741"/>
                </a:cxn>
                <a:cxn ang="0">
                  <a:pos x="145" y="732"/>
                </a:cxn>
                <a:cxn ang="0">
                  <a:pos x="133" y="724"/>
                </a:cxn>
                <a:cxn ang="0">
                  <a:pos x="110" y="706"/>
                </a:cxn>
                <a:cxn ang="0">
                  <a:pos x="87" y="687"/>
                </a:cxn>
                <a:cxn ang="0">
                  <a:pos x="65" y="668"/>
                </a:cxn>
                <a:cxn ang="0">
                  <a:pos x="43" y="649"/>
                </a:cxn>
                <a:cxn ang="0">
                  <a:pos x="32" y="639"/>
                </a:cxn>
                <a:cxn ang="0">
                  <a:pos x="21" y="629"/>
                </a:cxn>
                <a:cxn ang="0">
                  <a:pos x="0" y="608"/>
                </a:cxn>
                <a:cxn ang="0">
                  <a:pos x="608" y="0"/>
                </a:cxn>
                <a:cxn ang="0">
                  <a:pos x="620" y="12"/>
                </a:cxn>
                <a:cxn ang="0">
                  <a:pos x="632" y="22"/>
                </a:cxn>
                <a:cxn ang="0">
                  <a:pos x="645" y="33"/>
                </a:cxn>
                <a:cxn ang="0">
                  <a:pos x="658" y="42"/>
                </a:cxn>
                <a:cxn ang="0">
                  <a:pos x="672" y="51"/>
                </a:cxn>
                <a:cxn ang="0">
                  <a:pos x="686" y="59"/>
                </a:cxn>
                <a:cxn ang="0">
                  <a:pos x="701" y="67"/>
                </a:cxn>
                <a:cxn ang="0">
                  <a:pos x="716" y="73"/>
                </a:cxn>
                <a:cxn ang="0">
                  <a:pos x="724" y="76"/>
                </a:cxn>
                <a:cxn ang="0">
                  <a:pos x="731" y="79"/>
                </a:cxn>
                <a:cxn ang="0">
                  <a:pos x="747" y="85"/>
                </a:cxn>
                <a:cxn ang="0">
                  <a:pos x="755" y="87"/>
                </a:cxn>
                <a:cxn ang="0">
                  <a:pos x="763" y="89"/>
                </a:cxn>
                <a:cxn ang="0">
                  <a:pos x="780" y="93"/>
                </a:cxn>
                <a:cxn ang="0">
                  <a:pos x="788" y="95"/>
                </a:cxn>
                <a:cxn ang="0">
                  <a:pos x="797" y="96"/>
                </a:cxn>
                <a:cxn ang="0">
                  <a:pos x="814" y="98"/>
                </a:cxn>
                <a:cxn ang="0">
                  <a:pos x="831" y="100"/>
                </a:cxn>
                <a:cxn ang="0">
                  <a:pos x="848" y="100"/>
                </a:cxn>
              </a:cxnLst>
              <a:rect l="0" t="0" r="r" b="b"/>
              <a:pathLst>
                <a:path w="848" h="959">
                  <a:moveTo>
                    <a:pt x="848" y="100"/>
                  </a:moveTo>
                  <a:lnTo>
                    <a:pt x="848" y="530"/>
                  </a:lnTo>
                  <a:lnTo>
                    <a:pt x="848" y="959"/>
                  </a:lnTo>
                  <a:lnTo>
                    <a:pt x="819" y="959"/>
                  </a:lnTo>
                  <a:lnTo>
                    <a:pt x="790" y="958"/>
                  </a:lnTo>
                  <a:lnTo>
                    <a:pt x="760" y="956"/>
                  </a:lnTo>
                  <a:lnTo>
                    <a:pt x="731" y="953"/>
                  </a:lnTo>
                  <a:lnTo>
                    <a:pt x="702" y="950"/>
                  </a:lnTo>
                  <a:lnTo>
                    <a:pt x="673" y="946"/>
                  </a:lnTo>
                  <a:lnTo>
                    <a:pt x="644" y="941"/>
                  </a:lnTo>
                  <a:lnTo>
                    <a:pt x="615" y="936"/>
                  </a:lnTo>
                  <a:lnTo>
                    <a:pt x="586" y="930"/>
                  </a:lnTo>
                  <a:lnTo>
                    <a:pt x="557" y="923"/>
                  </a:lnTo>
                  <a:lnTo>
                    <a:pt x="529" y="915"/>
                  </a:lnTo>
                  <a:lnTo>
                    <a:pt x="501" y="907"/>
                  </a:lnTo>
                  <a:lnTo>
                    <a:pt x="487" y="903"/>
                  </a:lnTo>
                  <a:lnTo>
                    <a:pt x="473" y="898"/>
                  </a:lnTo>
                  <a:lnTo>
                    <a:pt x="445" y="889"/>
                  </a:lnTo>
                  <a:lnTo>
                    <a:pt x="417" y="879"/>
                  </a:lnTo>
                  <a:lnTo>
                    <a:pt x="390" y="868"/>
                  </a:lnTo>
                  <a:lnTo>
                    <a:pt x="363" y="856"/>
                  </a:lnTo>
                  <a:lnTo>
                    <a:pt x="336" y="844"/>
                  </a:lnTo>
                  <a:lnTo>
                    <a:pt x="310" y="831"/>
                  </a:lnTo>
                  <a:lnTo>
                    <a:pt x="284" y="818"/>
                  </a:lnTo>
                  <a:lnTo>
                    <a:pt x="258" y="804"/>
                  </a:lnTo>
                  <a:lnTo>
                    <a:pt x="231" y="789"/>
                  </a:lnTo>
                  <a:lnTo>
                    <a:pt x="206" y="773"/>
                  </a:lnTo>
                  <a:lnTo>
                    <a:pt x="182" y="757"/>
                  </a:lnTo>
                  <a:lnTo>
                    <a:pt x="157" y="741"/>
                  </a:lnTo>
                  <a:lnTo>
                    <a:pt x="145" y="732"/>
                  </a:lnTo>
                  <a:lnTo>
                    <a:pt x="133" y="724"/>
                  </a:lnTo>
                  <a:lnTo>
                    <a:pt x="110" y="706"/>
                  </a:lnTo>
                  <a:lnTo>
                    <a:pt x="87" y="687"/>
                  </a:lnTo>
                  <a:lnTo>
                    <a:pt x="65" y="668"/>
                  </a:lnTo>
                  <a:lnTo>
                    <a:pt x="43" y="649"/>
                  </a:lnTo>
                  <a:lnTo>
                    <a:pt x="32" y="639"/>
                  </a:lnTo>
                  <a:lnTo>
                    <a:pt x="21" y="629"/>
                  </a:lnTo>
                  <a:lnTo>
                    <a:pt x="0" y="608"/>
                  </a:lnTo>
                  <a:lnTo>
                    <a:pt x="608" y="0"/>
                  </a:lnTo>
                  <a:lnTo>
                    <a:pt x="620" y="12"/>
                  </a:lnTo>
                  <a:lnTo>
                    <a:pt x="632" y="22"/>
                  </a:lnTo>
                  <a:lnTo>
                    <a:pt x="645" y="33"/>
                  </a:lnTo>
                  <a:lnTo>
                    <a:pt x="658" y="42"/>
                  </a:lnTo>
                  <a:lnTo>
                    <a:pt x="672" y="51"/>
                  </a:lnTo>
                  <a:lnTo>
                    <a:pt x="686" y="59"/>
                  </a:lnTo>
                  <a:lnTo>
                    <a:pt x="701" y="67"/>
                  </a:lnTo>
                  <a:lnTo>
                    <a:pt x="716" y="73"/>
                  </a:lnTo>
                  <a:lnTo>
                    <a:pt x="724" y="76"/>
                  </a:lnTo>
                  <a:lnTo>
                    <a:pt x="731" y="79"/>
                  </a:lnTo>
                  <a:lnTo>
                    <a:pt x="747" y="85"/>
                  </a:lnTo>
                  <a:lnTo>
                    <a:pt x="755" y="87"/>
                  </a:lnTo>
                  <a:lnTo>
                    <a:pt x="763" y="89"/>
                  </a:lnTo>
                  <a:lnTo>
                    <a:pt x="780" y="93"/>
                  </a:lnTo>
                  <a:lnTo>
                    <a:pt x="788" y="95"/>
                  </a:lnTo>
                  <a:lnTo>
                    <a:pt x="797" y="96"/>
                  </a:lnTo>
                  <a:lnTo>
                    <a:pt x="814" y="98"/>
                  </a:lnTo>
                  <a:lnTo>
                    <a:pt x="831" y="100"/>
                  </a:lnTo>
                  <a:lnTo>
                    <a:pt x="848" y="10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7" name="Freeform 133"/>
            <p:cNvSpPr>
              <a:spLocks noChangeAspect="1"/>
            </p:cNvSpPr>
            <p:nvPr/>
          </p:nvSpPr>
          <p:spPr bwMode="auto">
            <a:xfrm>
              <a:off x="5845181" y="4943509"/>
              <a:ext cx="744538" cy="657226"/>
            </a:xfrm>
            <a:custGeom>
              <a:avLst/>
              <a:gdLst/>
              <a:ahLst/>
              <a:cxnLst>
                <a:cxn ang="0">
                  <a:pos x="959" y="240"/>
                </a:cxn>
                <a:cxn ang="0">
                  <a:pos x="351" y="848"/>
                </a:cxn>
                <a:cxn ang="0">
                  <a:pos x="331" y="827"/>
                </a:cxn>
                <a:cxn ang="0">
                  <a:pos x="311" y="806"/>
                </a:cxn>
                <a:cxn ang="0">
                  <a:pos x="291" y="783"/>
                </a:cxn>
                <a:cxn ang="0">
                  <a:pos x="272" y="761"/>
                </a:cxn>
                <a:cxn ang="0">
                  <a:pos x="254" y="738"/>
                </a:cxn>
                <a:cxn ang="0">
                  <a:pos x="236" y="715"/>
                </a:cxn>
                <a:cxn ang="0">
                  <a:pos x="219" y="691"/>
                </a:cxn>
                <a:cxn ang="0">
                  <a:pos x="210" y="679"/>
                </a:cxn>
                <a:cxn ang="0">
                  <a:pos x="202" y="667"/>
                </a:cxn>
                <a:cxn ang="0">
                  <a:pos x="186" y="642"/>
                </a:cxn>
                <a:cxn ang="0">
                  <a:pos x="171" y="617"/>
                </a:cxn>
                <a:cxn ang="0">
                  <a:pos x="156" y="590"/>
                </a:cxn>
                <a:cxn ang="0">
                  <a:pos x="142" y="565"/>
                </a:cxn>
                <a:cxn ang="0">
                  <a:pos x="128" y="539"/>
                </a:cxn>
                <a:cxn ang="0">
                  <a:pos x="115" y="512"/>
                </a:cxn>
                <a:cxn ang="0">
                  <a:pos x="103" y="485"/>
                </a:cxn>
                <a:cxn ang="0">
                  <a:pos x="91" y="458"/>
                </a:cxn>
                <a:cxn ang="0">
                  <a:pos x="81" y="431"/>
                </a:cxn>
                <a:cxn ang="0">
                  <a:pos x="70" y="404"/>
                </a:cxn>
                <a:cxn ang="0">
                  <a:pos x="61" y="376"/>
                </a:cxn>
                <a:cxn ang="0">
                  <a:pos x="52" y="348"/>
                </a:cxn>
                <a:cxn ang="0">
                  <a:pos x="43" y="320"/>
                </a:cxn>
                <a:cxn ang="0">
                  <a:pos x="36" y="291"/>
                </a:cxn>
                <a:cxn ang="0">
                  <a:pos x="29" y="263"/>
                </a:cxn>
                <a:cxn ang="0">
                  <a:pos x="23" y="234"/>
                </a:cxn>
                <a:cxn ang="0">
                  <a:pos x="17" y="205"/>
                </a:cxn>
                <a:cxn ang="0">
                  <a:pos x="13" y="176"/>
                </a:cxn>
                <a:cxn ang="0">
                  <a:pos x="9" y="147"/>
                </a:cxn>
                <a:cxn ang="0">
                  <a:pos x="6" y="118"/>
                </a:cxn>
                <a:cxn ang="0">
                  <a:pos x="3" y="88"/>
                </a:cxn>
                <a:cxn ang="0">
                  <a:pos x="1" y="59"/>
                </a:cxn>
                <a:cxn ang="0">
                  <a:pos x="0" y="29"/>
                </a:cxn>
                <a:cxn ang="0">
                  <a:pos x="0" y="0"/>
                </a:cxn>
                <a:cxn ang="0">
                  <a:pos x="429" y="0"/>
                </a:cxn>
                <a:cxn ang="0">
                  <a:pos x="859" y="0"/>
                </a:cxn>
                <a:cxn ang="0">
                  <a:pos x="860" y="17"/>
                </a:cxn>
                <a:cxn ang="0">
                  <a:pos x="861" y="35"/>
                </a:cxn>
                <a:cxn ang="0">
                  <a:pos x="862" y="43"/>
                </a:cxn>
                <a:cxn ang="0">
                  <a:pos x="863" y="52"/>
                </a:cxn>
                <a:cxn ang="0">
                  <a:pos x="864" y="60"/>
                </a:cxn>
                <a:cxn ang="0">
                  <a:pos x="866" y="68"/>
                </a:cxn>
                <a:cxn ang="0">
                  <a:pos x="870" y="85"/>
                </a:cxn>
                <a:cxn ang="0">
                  <a:pos x="874" y="101"/>
                </a:cxn>
                <a:cxn ang="0">
                  <a:pos x="880" y="117"/>
                </a:cxn>
                <a:cxn ang="0">
                  <a:pos x="886" y="132"/>
                </a:cxn>
                <a:cxn ang="0">
                  <a:pos x="893" y="147"/>
                </a:cxn>
                <a:cxn ang="0">
                  <a:pos x="900" y="162"/>
                </a:cxn>
                <a:cxn ang="0">
                  <a:pos x="908" y="176"/>
                </a:cxn>
                <a:cxn ang="0">
                  <a:pos x="917" y="190"/>
                </a:cxn>
                <a:cxn ang="0">
                  <a:pos x="927" y="203"/>
                </a:cxn>
                <a:cxn ang="0">
                  <a:pos x="937" y="216"/>
                </a:cxn>
                <a:cxn ang="0">
                  <a:pos x="948" y="229"/>
                </a:cxn>
                <a:cxn ang="0">
                  <a:pos x="959" y="240"/>
                </a:cxn>
              </a:cxnLst>
              <a:rect l="0" t="0" r="r" b="b"/>
              <a:pathLst>
                <a:path w="959" h="848">
                  <a:moveTo>
                    <a:pt x="959" y="240"/>
                  </a:moveTo>
                  <a:lnTo>
                    <a:pt x="351" y="848"/>
                  </a:lnTo>
                  <a:lnTo>
                    <a:pt x="331" y="827"/>
                  </a:lnTo>
                  <a:lnTo>
                    <a:pt x="311" y="806"/>
                  </a:lnTo>
                  <a:lnTo>
                    <a:pt x="291" y="783"/>
                  </a:lnTo>
                  <a:lnTo>
                    <a:pt x="272" y="761"/>
                  </a:lnTo>
                  <a:lnTo>
                    <a:pt x="254" y="738"/>
                  </a:lnTo>
                  <a:lnTo>
                    <a:pt x="236" y="715"/>
                  </a:lnTo>
                  <a:lnTo>
                    <a:pt x="219" y="691"/>
                  </a:lnTo>
                  <a:lnTo>
                    <a:pt x="210" y="679"/>
                  </a:lnTo>
                  <a:lnTo>
                    <a:pt x="202" y="667"/>
                  </a:lnTo>
                  <a:lnTo>
                    <a:pt x="186" y="642"/>
                  </a:lnTo>
                  <a:lnTo>
                    <a:pt x="171" y="617"/>
                  </a:lnTo>
                  <a:lnTo>
                    <a:pt x="156" y="590"/>
                  </a:lnTo>
                  <a:lnTo>
                    <a:pt x="142" y="565"/>
                  </a:lnTo>
                  <a:lnTo>
                    <a:pt x="128" y="539"/>
                  </a:lnTo>
                  <a:lnTo>
                    <a:pt x="115" y="512"/>
                  </a:lnTo>
                  <a:lnTo>
                    <a:pt x="103" y="485"/>
                  </a:lnTo>
                  <a:lnTo>
                    <a:pt x="91" y="458"/>
                  </a:lnTo>
                  <a:lnTo>
                    <a:pt x="81" y="431"/>
                  </a:lnTo>
                  <a:lnTo>
                    <a:pt x="70" y="404"/>
                  </a:lnTo>
                  <a:lnTo>
                    <a:pt x="61" y="376"/>
                  </a:lnTo>
                  <a:lnTo>
                    <a:pt x="52" y="348"/>
                  </a:lnTo>
                  <a:lnTo>
                    <a:pt x="43" y="320"/>
                  </a:lnTo>
                  <a:lnTo>
                    <a:pt x="36" y="291"/>
                  </a:lnTo>
                  <a:lnTo>
                    <a:pt x="29" y="263"/>
                  </a:lnTo>
                  <a:lnTo>
                    <a:pt x="23" y="234"/>
                  </a:lnTo>
                  <a:lnTo>
                    <a:pt x="17" y="205"/>
                  </a:lnTo>
                  <a:lnTo>
                    <a:pt x="13" y="176"/>
                  </a:lnTo>
                  <a:lnTo>
                    <a:pt x="9" y="147"/>
                  </a:lnTo>
                  <a:lnTo>
                    <a:pt x="6" y="118"/>
                  </a:lnTo>
                  <a:lnTo>
                    <a:pt x="3" y="88"/>
                  </a:lnTo>
                  <a:lnTo>
                    <a:pt x="1" y="59"/>
                  </a:lnTo>
                  <a:lnTo>
                    <a:pt x="0" y="29"/>
                  </a:lnTo>
                  <a:lnTo>
                    <a:pt x="0" y="0"/>
                  </a:lnTo>
                  <a:lnTo>
                    <a:pt x="429" y="0"/>
                  </a:lnTo>
                  <a:lnTo>
                    <a:pt x="859" y="0"/>
                  </a:lnTo>
                  <a:lnTo>
                    <a:pt x="860" y="17"/>
                  </a:lnTo>
                  <a:lnTo>
                    <a:pt x="861" y="35"/>
                  </a:lnTo>
                  <a:lnTo>
                    <a:pt x="862" y="43"/>
                  </a:lnTo>
                  <a:lnTo>
                    <a:pt x="863" y="52"/>
                  </a:lnTo>
                  <a:lnTo>
                    <a:pt x="864" y="60"/>
                  </a:lnTo>
                  <a:lnTo>
                    <a:pt x="866" y="68"/>
                  </a:lnTo>
                  <a:lnTo>
                    <a:pt x="870" y="85"/>
                  </a:lnTo>
                  <a:lnTo>
                    <a:pt x="874" y="101"/>
                  </a:lnTo>
                  <a:lnTo>
                    <a:pt x="880" y="117"/>
                  </a:lnTo>
                  <a:lnTo>
                    <a:pt x="886" y="132"/>
                  </a:lnTo>
                  <a:lnTo>
                    <a:pt x="893" y="147"/>
                  </a:lnTo>
                  <a:lnTo>
                    <a:pt x="900" y="162"/>
                  </a:lnTo>
                  <a:lnTo>
                    <a:pt x="908" y="176"/>
                  </a:lnTo>
                  <a:lnTo>
                    <a:pt x="917" y="190"/>
                  </a:lnTo>
                  <a:lnTo>
                    <a:pt x="927" y="203"/>
                  </a:lnTo>
                  <a:lnTo>
                    <a:pt x="937" y="216"/>
                  </a:lnTo>
                  <a:lnTo>
                    <a:pt x="948" y="229"/>
                  </a:lnTo>
                  <a:lnTo>
                    <a:pt x="959" y="24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8" name="Freeform 134"/>
            <p:cNvSpPr>
              <a:spLocks noChangeAspect="1"/>
            </p:cNvSpPr>
            <p:nvPr/>
          </p:nvSpPr>
          <p:spPr bwMode="auto">
            <a:xfrm>
              <a:off x="5845181" y="4286282"/>
              <a:ext cx="744538" cy="657226"/>
            </a:xfrm>
            <a:custGeom>
              <a:avLst/>
              <a:gdLst/>
              <a:ahLst/>
              <a:cxnLst>
                <a:cxn ang="0">
                  <a:pos x="859" y="848"/>
                </a:cxn>
                <a:cxn ang="0">
                  <a:pos x="429" y="848"/>
                </a:cxn>
                <a:cxn ang="0">
                  <a:pos x="0" y="848"/>
                </a:cxn>
                <a:cxn ang="0">
                  <a:pos x="1" y="819"/>
                </a:cxn>
                <a:cxn ang="0">
                  <a:pos x="2" y="789"/>
                </a:cxn>
                <a:cxn ang="0">
                  <a:pos x="3" y="760"/>
                </a:cxn>
                <a:cxn ang="0">
                  <a:pos x="6" y="730"/>
                </a:cxn>
                <a:cxn ang="0">
                  <a:pos x="9" y="701"/>
                </a:cxn>
                <a:cxn ang="0">
                  <a:pos x="13" y="672"/>
                </a:cxn>
                <a:cxn ang="0">
                  <a:pos x="18" y="643"/>
                </a:cxn>
                <a:cxn ang="0">
                  <a:pos x="23" y="614"/>
                </a:cxn>
                <a:cxn ang="0">
                  <a:pos x="29" y="585"/>
                </a:cxn>
                <a:cxn ang="0">
                  <a:pos x="36" y="557"/>
                </a:cxn>
                <a:cxn ang="0">
                  <a:pos x="44" y="528"/>
                </a:cxn>
                <a:cxn ang="0">
                  <a:pos x="52" y="500"/>
                </a:cxn>
                <a:cxn ang="0">
                  <a:pos x="56" y="486"/>
                </a:cxn>
                <a:cxn ang="0">
                  <a:pos x="61" y="472"/>
                </a:cxn>
                <a:cxn ang="0">
                  <a:pos x="70" y="444"/>
                </a:cxn>
                <a:cxn ang="0">
                  <a:pos x="81" y="417"/>
                </a:cxn>
                <a:cxn ang="0">
                  <a:pos x="91" y="389"/>
                </a:cxn>
                <a:cxn ang="0">
                  <a:pos x="103" y="362"/>
                </a:cxn>
                <a:cxn ang="0">
                  <a:pos x="115" y="336"/>
                </a:cxn>
                <a:cxn ang="0">
                  <a:pos x="128" y="309"/>
                </a:cxn>
                <a:cxn ang="0">
                  <a:pos x="142" y="283"/>
                </a:cxn>
                <a:cxn ang="0">
                  <a:pos x="156" y="257"/>
                </a:cxn>
                <a:cxn ang="0">
                  <a:pos x="170" y="231"/>
                </a:cxn>
                <a:cxn ang="0">
                  <a:pos x="186" y="206"/>
                </a:cxn>
                <a:cxn ang="0">
                  <a:pos x="202" y="181"/>
                </a:cxn>
                <a:cxn ang="0">
                  <a:pos x="218" y="157"/>
                </a:cxn>
                <a:cxn ang="0">
                  <a:pos x="227" y="145"/>
                </a:cxn>
                <a:cxn ang="0">
                  <a:pos x="236" y="133"/>
                </a:cxn>
                <a:cxn ang="0">
                  <a:pos x="253" y="110"/>
                </a:cxn>
                <a:cxn ang="0">
                  <a:pos x="272" y="87"/>
                </a:cxn>
                <a:cxn ang="0">
                  <a:pos x="291" y="64"/>
                </a:cxn>
                <a:cxn ang="0">
                  <a:pos x="310" y="42"/>
                </a:cxn>
                <a:cxn ang="0">
                  <a:pos x="320" y="31"/>
                </a:cxn>
                <a:cxn ang="0">
                  <a:pos x="330" y="21"/>
                </a:cxn>
                <a:cxn ang="0">
                  <a:pos x="351" y="0"/>
                </a:cxn>
                <a:cxn ang="0">
                  <a:pos x="959" y="607"/>
                </a:cxn>
                <a:cxn ang="0">
                  <a:pos x="948" y="619"/>
                </a:cxn>
                <a:cxn ang="0">
                  <a:pos x="937" y="632"/>
                </a:cxn>
                <a:cxn ang="0">
                  <a:pos x="927" y="644"/>
                </a:cxn>
                <a:cxn ang="0">
                  <a:pos x="917" y="658"/>
                </a:cxn>
                <a:cxn ang="0">
                  <a:pos x="908" y="672"/>
                </a:cxn>
                <a:cxn ang="0">
                  <a:pos x="900" y="686"/>
                </a:cxn>
                <a:cxn ang="0">
                  <a:pos x="893" y="700"/>
                </a:cxn>
                <a:cxn ang="0">
                  <a:pos x="886" y="716"/>
                </a:cxn>
                <a:cxn ang="0">
                  <a:pos x="883" y="723"/>
                </a:cxn>
                <a:cxn ang="0">
                  <a:pos x="880" y="731"/>
                </a:cxn>
                <a:cxn ang="0">
                  <a:pos x="874" y="747"/>
                </a:cxn>
                <a:cxn ang="0">
                  <a:pos x="872" y="755"/>
                </a:cxn>
                <a:cxn ang="0">
                  <a:pos x="870" y="763"/>
                </a:cxn>
                <a:cxn ang="0">
                  <a:pos x="866" y="779"/>
                </a:cxn>
                <a:cxn ang="0">
                  <a:pos x="864" y="788"/>
                </a:cxn>
                <a:cxn ang="0">
                  <a:pos x="863" y="796"/>
                </a:cxn>
                <a:cxn ang="0">
                  <a:pos x="861" y="813"/>
                </a:cxn>
                <a:cxn ang="0">
                  <a:pos x="860" y="830"/>
                </a:cxn>
                <a:cxn ang="0">
                  <a:pos x="859" y="848"/>
                </a:cxn>
              </a:cxnLst>
              <a:rect l="0" t="0" r="r" b="b"/>
              <a:pathLst>
                <a:path w="959" h="848">
                  <a:moveTo>
                    <a:pt x="859" y="848"/>
                  </a:moveTo>
                  <a:lnTo>
                    <a:pt x="429" y="848"/>
                  </a:lnTo>
                  <a:lnTo>
                    <a:pt x="0" y="848"/>
                  </a:lnTo>
                  <a:lnTo>
                    <a:pt x="1" y="819"/>
                  </a:lnTo>
                  <a:lnTo>
                    <a:pt x="2" y="789"/>
                  </a:lnTo>
                  <a:lnTo>
                    <a:pt x="3" y="760"/>
                  </a:lnTo>
                  <a:lnTo>
                    <a:pt x="6" y="730"/>
                  </a:lnTo>
                  <a:lnTo>
                    <a:pt x="9" y="701"/>
                  </a:lnTo>
                  <a:lnTo>
                    <a:pt x="13" y="672"/>
                  </a:lnTo>
                  <a:lnTo>
                    <a:pt x="18" y="643"/>
                  </a:lnTo>
                  <a:lnTo>
                    <a:pt x="23" y="614"/>
                  </a:lnTo>
                  <a:lnTo>
                    <a:pt x="29" y="585"/>
                  </a:lnTo>
                  <a:lnTo>
                    <a:pt x="36" y="557"/>
                  </a:lnTo>
                  <a:lnTo>
                    <a:pt x="44" y="528"/>
                  </a:lnTo>
                  <a:lnTo>
                    <a:pt x="52" y="500"/>
                  </a:lnTo>
                  <a:lnTo>
                    <a:pt x="56" y="486"/>
                  </a:lnTo>
                  <a:lnTo>
                    <a:pt x="61" y="472"/>
                  </a:lnTo>
                  <a:lnTo>
                    <a:pt x="70" y="444"/>
                  </a:lnTo>
                  <a:lnTo>
                    <a:pt x="81" y="417"/>
                  </a:lnTo>
                  <a:lnTo>
                    <a:pt x="91" y="389"/>
                  </a:lnTo>
                  <a:lnTo>
                    <a:pt x="103" y="362"/>
                  </a:lnTo>
                  <a:lnTo>
                    <a:pt x="115" y="336"/>
                  </a:lnTo>
                  <a:lnTo>
                    <a:pt x="128" y="309"/>
                  </a:lnTo>
                  <a:lnTo>
                    <a:pt x="142" y="283"/>
                  </a:lnTo>
                  <a:lnTo>
                    <a:pt x="156" y="257"/>
                  </a:lnTo>
                  <a:lnTo>
                    <a:pt x="170" y="231"/>
                  </a:lnTo>
                  <a:lnTo>
                    <a:pt x="186" y="206"/>
                  </a:lnTo>
                  <a:lnTo>
                    <a:pt x="202" y="181"/>
                  </a:lnTo>
                  <a:lnTo>
                    <a:pt x="218" y="157"/>
                  </a:lnTo>
                  <a:lnTo>
                    <a:pt x="227" y="145"/>
                  </a:lnTo>
                  <a:lnTo>
                    <a:pt x="236" y="133"/>
                  </a:lnTo>
                  <a:lnTo>
                    <a:pt x="253" y="110"/>
                  </a:lnTo>
                  <a:lnTo>
                    <a:pt x="272" y="87"/>
                  </a:lnTo>
                  <a:lnTo>
                    <a:pt x="291" y="64"/>
                  </a:lnTo>
                  <a:lnTo>
                    <a:pt x="310" y="42"/>
                  </a:lnTo>
                  <a:lnTo>
                    <a:pt x="320" y="31"/>
                  </a:lnTo>
                  <a:lnTo>
                    <a:pt x="330" y="21"/>
                  </a:lnTo>
                  <a:lnTo>
                    <a:pt x="351" y="0"/>
                  </a:lnTo>
                  <a:lnTo>
                    <a:pt x="959" y="607"/>
                  </a:lnTo>
                  <a:lnTo>
                    <a:pt x="948" y="619"/>
                  </a:lnTo>
                  <a:lnTo>
                    <a:pt x="937" y="632"/>
                  </a:lnTo>
                  <a:lnTo>
                    <a:pt x="927" y="644"/>
                  </a:lnTo>
                  <a:lnTo>
                    <a:pt x="917" y="658"/>
                  </a:lnTo>
                  <a:lnTo>
                    <a:pt x="908" y="672"/>
                  </a:lnTo>
                  <a:lnTo>
                    <a:pt x="900" y="686"/>
                  </a:lnTo>
                  <a:lnTo>
                    <a:pt x="893" y="700"/>
                  </a:lnTo>
                  <a:lnTo>
                    <a:pt x="886" y="716"/>
                  </a:lnTo>
                  <a:lnTo>
                    <a:pt x="883" y="723"/>
                  </a:lnTo>
                  <a:lnTo>
                    <a:pt x="880" y="731"/>
                  </a:lnTo>
                  <a:lnTo>
                    <a:pt x="874" y="747"/>
                  </a:lnTo>
                  <a:lnTo>
                    <a:pt x="872" y="755"/>
                  </a:lnTo>
                  <a:lnTo>
                    <a:pt x="870" y="763"/>
                  </a:lnTo>
                  <a:lnTo>
                    <a:pt x="866" y="779"/>
                  </a:lnTo>
                  <a:lnTo>
                    <a:pt x="864" y="788"/>
                  </a:lnTo>
                  <a:lnTo>
                    <a:pt x="863" y="796"/>
                  </a:lnTo>
                  <a:lnTo>
                    <a:pt x="861" y="813"/>
                  </a:lnTo>
                  <a:lnTo>
                    <a:pt x="860" y="830"/>
                  </a:lnTo>
                  <a:lnTo>
                    <a:pt x="859" y="8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6999" name="Freeform 135"/>
            <p:cNvSpPr>
              <a:spLocks noChangeAspect="1"/>
            </p:cNvSpPr>
            <p:nvPr/>
          </p:nvSpPr>
          <p:spPr bwMode="auto">
            <a:xfrm>
              <a:off x="6118231" y="4013232"/>
              <a:ext cx="657226" cy="742951"/>
            </a:xfrm>
            <a:custGeom>
              <a:avLst/>
              <a:gdLst/>
              <a:ahLst/>
              <a:cxnLst>
                <a:cxn ang="0">
                  <a:pos x="608" y="958"/>
                </a:cxn>
                <a:cxn ang="0">
                  <a:pos x="0" y="351"/>
                </a:cxn>
                <a:cxn ang="0">
                  <a:pos x="21" y="330"/>
                </a:cxn>
                <a:cxn ang="0">
                  <a:pos x="43" y="310"/>
                </a:cxn>
                <a:cxn ang="0">
                  <a:pos x="65" y="291"/>
                </a:cxn>
                <a:cxn ang="0">
                  <a:pos x="87" y="272"/>
                </a:cxn>
                <a:cxn ang="0">
                  <a:pos x="110" y="253"/>
                </a:cxn>
                <a:cxn ang="0">
                  <a:pos x="134" y="236"/>
                </a:cxn>
                <a:cxn ang="0">
                  <a:pos x="157" y="218"/>
                </a:cxn>
                <a:cxn ang="0">
                  <a:pos x="170" y="210"/>
                </a:cxn>
                <a:cxn ang="0">
                  <a:pos x="182" y="202"/>
                </a:cxn>
                <a:cxn ang="0">
                  <a:pos x="206" y="186"/>
                </a:cxn>
                <a:cxn ang="0">
                  <a:pos x="231" y="170"/>
                </a:cxn>
                <a:cxn ang="0">
                  <a:pos x="258" y="156"/>
                </a:cxn>
                <a:cxn ang="0">
                  <a:pos x="284" y="141"/>
                </a:cxn>
                <a:cxn ang="0">
                  <a:pos x="310" y="128"/>
                </a:cxn>
                <a:cxn ang="0">
                  <a:pos x="336" y="115"/>
                </a:cxn>
                <a:cxn ang="0">
                  <a:pos x="363" y="103"/>
                </a:cxn>
                <a:cxn ang="0">
                  <a:pos x="390" y="91"/>
                </a:cxn>
                <a:cxn ang="0">
                  <a:pos x="417" y="80"/>
                </a:cxn>
                <a:cxn ang="0">
                  <a:pos x="445" y="70"/>
                </a:cxn>
                <a:cxn ang="0">
                  <a:pos x="472" y="60"/>
                </a:cxn>
                <a:cxn ang="0">
                  <a:pos x="500" y="51"/>
                </a:cxn>
                <a:cxn ang="0">
                  <a:pos x="529" y="43"/>
                </a:cxn>
                <a:cxn ang="0">
                  <a:pos x="557" y="35"/>
                </a:cxn>
                <a:cxn ang="0">
                  <a:pos x="586" y="29"/>
                </a:cxn>
                <a:cxn ang="0">
                  <a:pos x="614" y="23"/>
                </a:cxn>
                <a:cxn ang="0">
                  <a:pos x="643" y="17"/>
                </a:cxn>
                <a:cxn ang="0">
                  <a:pos x="672" y="12"/>
                </a:cxn>
                <a:cxn ang="0">
                  <a:pos x="701" y="8"/>
                </a:cxn>
                <a:cxn ang="0">
                  <a:pos x="731" y="5"/>
                </a:cxn>
                <a:cxn ang="0">
                  <a:pos x="760" y="3"/>
                </a:cxn>
                <a:cxn ang="0">
                  <a:pos x="789" y="1"/>
                </a:cxn>
                <a:cxn ang="0">
                  <a:pos x="819" y="0"/>
                </a:cxn>
                <a:cxn ang="0">
                  <a:pos x="848" y="0"/>
                </a:cxn>
                <a:cxn ang="0">
                  <a:pos x="848" y="429"/>
                </a:cxn>
                <a:cxn ang="0">
                  <a:pos x="848" y="859"/>
                </a:cxn>
                <a:cxn ang="0">
                  <a:pos x="831" y="859"/>
                </a:cxn>
                <a:cxn ang="0">
                  <a:pos x="814" y="861"/>
                </a:cxn>
                <a:cxn ang="0">
                  <a:pos x="805" y="861"/>
                </a:cxn>
                <a:cxn ang="0">
                  <a:pos x="797" y="863"/>
                </a:cxn>
                <a:cxn ang="0">
                  <a:pos x="788" y="864"/>
                </a:cxn>
                <a:cxn ang="0">
                  <a:pos x="780" y="866"/>
                </a:cxn>
                <a:cxn ang="0">
                  <a:pos x="763" y="869"/>
                </a:cxn>
                <a:cxn ang="0">
                  <a:pos x="747" y="874"/>
                </a:cxn>
                <a:cxn ang="0">
                  <a:pos x="731" y="879"/>
                </a:cxn>
                <a:cxn ang="0">
                  <a:pos x="716" y="885"/>
                </a:cxn>
                <a:cxn ang="0">
                  <a:pos x="701" y="892"/>
                </a:cxn>
                <a:cxn ang="0">
                  <a:pos x="686" y="900"/>
                </a:cxn>
                <a:cxn ang="0">
                  <a:pos x="672" y="908"/>
                </a:cxn>
                <a:cxn ang="0">
                  <a:pos x="658" y="917"/>
                </a:cxn>
                <a:cxn ang="0">
                  <a:pos x="645" y="926"/>
                </a:cxn>
                <a:cxn ang="0">
                  <a:pos x="632" y="936"/>
                </a:cxn>
                <a:cxn ang="0">
                  <a:pos x="620" y="947"/>
                </a:cxn>
                <a:cxn ang="0">
                  <a:pos x="608" y="958"/>
                </a:cxn>
              </a:cxnLst>
              <a:rect l="0" t="0" r="r" b="b"/>
              <a:pathLst>
                <a:path w="848" h="958">
                  <a:moveTo>
                    <a:pt x="608" y="958"/>
                  </a:moveTo>
                  <a:lnTo>
                    <a:pt x="0" y="351"/>
                  </a:lnTo>
                  <a:lnTo>
                    <a:pt x="21" y="330"/>
                  </a:lnTo>
                  <a:lnTo>
                    <a:pt x="43" y="310"/>
                  </a:lnTo>
                  <a:lnTo>
                    <a:pt x="65" y="291"/>
                  </a:lnTo>
                  <a:lnTo>
                    <a:pt x="87" y="272"/>
                  </a:lnTo>
                  <a:lnTo>
                    <a:pt x="110" y="253"/>
                  </a:lnTo>
                  <a:lnTo>
                    <a:pt x="134" y="236"/>
                  </a:lnTo>
                  <a:lnTo>
                    <a:pt x="157" y="218"/>
                  </a:lnTo>
                  <a:lnTo>
                    <a:pt x="170" y="210"/>
                  </a:lnTo>
                  <a:lnTo>
                    <a:pt x="182" y="202"/>
                  </a:lnTo>
                  <a:lnTo>
                    <a:pt x="206" y="186"/>
                  </a:lnTo>
                  <a:lnTo>
                    <a:pt x="231" y="170"/>
                  </a:lnTo>
                  <a:lnTo>
                    <a:pt x="258" y="156"/>
                  </a:lnTo>
                  <a:lnTo>
                    <a:pt x="284" y="141"/>
                  </a:lnTo>
                  <a:lnTo>
                    <a:pt x="310" y="128"/>
                  </a:lnTo>
                  <a:lnTo>
                    <a:pt x="336" y="115"/>
                  </a:lnTo>
                  <a:lnTo>
                    <a:pt x="363" y="103"/>
                  </a:lnTo>
                  <a:lnTo>
                    <a:pt x="390" y="91"/>
                  </a:lnTo>
                  <a:lnTo>
                    <a:pt x="417" y="80"/>
                  </a:lnTo>
                  <a:lnTo>
                    <a:pt x="445" y="70"/>
                  </a:lnTo>
                  <a:lnTo>
                    <a:pt x="472" y="60"/>
                  </a:lnTo>
                  <a:lnTo>
                    <a:pt x="500" y="51"/>
                  </a:lnTo>
                  <a:lnTo>
                    <a:pt x="529" y="43"/>
                  </a:lnTo>
                  <a:lnTo>
                    <a:pt x="557" y="35"/>
                  </a:lnTo>
                  <a:lnTo>
                    <a:pt x="586" y="29"/>
                  </a:lnTo>
                  <a:lnTo>
                    <a:pt x="614" y="23"/>
                  </a:lnTo>
                  <a:lnTo>
                    <a:pt x="643" y="17"/>
                  </a:lnTo>
                  <a:lnTo>
                    <a:pt x="672" y="12"/>
                  </a:lnTo>
                  <a:lnTo>
                    <a:pt x="701" y="8"/>
                  </a:lnTo>
                  <a:lnTo>
                    <a:pt x="731" y="5"/>
                  </a:lnTo>
                  <a:lnTo>
                    <a:pt x="760" y="3"/>
                  </a:lnTo>
                  <a:lnTo>
                    <a:pt x="789" y="1"/>
                  </a:lnTo>
                  <a:lnTo>
                    <a:pt x="819" y="0"/>
                  </a:lnTo>
                  <a:lnTo>
                    <a:pt x="848" y="0"/>
                  </a:lnTo>
                  <a:lnTo>
                    <a:pt x="848" y="429"/>
                  </a:lnTo>
                  <a:lnTo>
                    <a:pt x="848" y="859"/>
                  </a:lnTo>
                  <a:lnTo>
                    <a:pt x="831" y="859"/>
                  </a:lnTo>
                  <a:lnTo>
                    <a:pt x="814" y="861"/>
                  </a:lnTo>
                  <a:lnTo>
                    <a:pt x="805" y="861"/>
                  </a:lnTo>
                  <a:lnTo>
                    <a:pt x="797" y="863"/>
                  </a:lnTo>
                  <a:lnTo>
                    <a:pt x="788" y="864"/>
                  </a:lnTo>
                  <a:lnTo>
                    <a:pt x="780" y="866"/>
                  </a:lnTo>
                  <a:lnTo>
                    <a:pt x="763" y="869"/>
                  </a:lnTo>
                  <a:lnTo>
                    <a:pt x="747" y="874"/>
                  </a:lnTo>
                  <a:lnTo>
                    <a:pt x="731" y="879"/>
                  </a:lnTo>
                  <a:lnTo>
                    <a:pt x="716" y="885"/>
                  </a:lnTo>
                  <a:lnTo>
                    <a:pt x="701" y="892"/>
                  </a:lnTo>
                  <a:lnTo>
                    <a:pt x="686" y="900"/>
                  </a:lnTo>
                  <a:lnTo>
                    <a:pt x="672" y="908"/>
                  </a:lnTo>
                  <a:lnTo>
                    <a:pt x="658" y="917"/>
                  </a:lnTo>
                  <a:lnTo>
                    <a:pt x="645" y="926"/>
                  </a:lnTo>
                  <a:lnTo>
                    <a:pt x="632" y="936"/>
                  </a:lnTo>
                  <a:lnTo>
                    <a:pt x="620" y="947"/>
                  </a:lnTo>
                  <a:lnTo>
                    <a:pt x="608" y="95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00" name="Text Box 136"/>
            <p:cNvSpPr txBox="1">
              <a:spLocks noChangeArrowheads="1"/>
            </p:cNvSpPr>
            <p:nvPr/>
          </p:nvSpPr>
          <p:spPr bwMode="auto">
            <a:xfrm>
              <a:off x="6767519" y="5364197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1" name="Text Box 137"/>
            <p:cNvSpPr txBox="1">
              <a:spLocks noChangeArrowheads="1"/>
            </p:cNvSpPr>
            <p:nvPr/>
          </p:nvSpPr>
          <p:spPr bwMode="auto">
            <a:xfrm>
              <a:off x="6356357" y="5364197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2" name="Text Box 138"/>
            <p:cNvSpPr txBox="1">
              <a:spLocks noChangeArrowheads="1"/>
            </p:cNvSpPr>
            <p:nvPr/>
          </p:nvSpPr>
          <p:spPr bwMode="auto">
            <a:xfrm>
              <a:off x="7127882" y="4946684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3" name="Text Box 139"/>
            <p:cNvSpPr txBox="1">
              <a:spLocks noChangeArrowheads="1"/>
            </p:cNvSpPr>
            <p:nvPr/>
          </p:nvSpPr>
          <p:spPr bwMode="auto">
            <a:xfrm>
              <a:off x="7127882" y="4691096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4" name="Text Box 140"/>
            <p:cNvSpPr txBox="1">
              <a:spLocks noChangeArrowheads="1"/>
            </p:cNvSpPr>
            <p:nvPr/>
          </p:nvSpPr>
          <p:spPr bwMode="auto">
            <a:xfrm>
              <a:off x="5997581" y="4946684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5" name="Text Box 141"/>
            <p:cNvSpPr txBox="1">
              <a:spLocks noChangeArrowheads="1"/>
            </p:cNvSpPr>
            <p:nvPr/>
          </p:nvSpPr>
          <p:spPr bwMode="auto">
            <a:xfrm>
              <a:off x="6767519" y="425612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6" name="Text Box 142"/>
            <p:cNvSpPr txBox="1">
              <a:spLocks noChangeArrowheads="1"/>
            </p:cNvSpPr>
            <p:nvPr/>
          </p:nvSpPr>
          <p:spPr bwMode="auto">
            <a:xfrm>
              <a:off x="5997581" y="4691096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07" name="Text Box 143"/>
            <p:cNvSpPr txBox="1">
              <a:spLocks noChangeArrowheads="1"/>
            </p:cNvSpPr>
            <p:nvPr/>
          </p:nvSpPr>
          <p:spPr bwMode="auto">
            <a:xfrm>
              <a:off x="6356357" y="425612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932014" y="3934089"/>
            <a:ext cx="2015596" cy="1949214"/>
            <a:chOff x="3636963" y="4022750"/>
            <a:chExt cx="1860550" cy="1860551"/>
          </a:xfrm>
          <a:solidFill>
            <a:srgbClr val="7F7F7F"/>
          </a:solidFill>
        </p:grpSpPr>
        <p:sp>
          <p:nvSpPr>
            <p:cNvPr id="37009" name="Freeform 145"/>
            <p:cNvSpPr>
              <a:spLocks noChangeAspect="1"/>
            </p:cNvSpPr>
            <p:nvPr/>
          </p:nvSpPr>
          <p:spPr bwMode="auto">
            <a:xfrm>
              <a:off x="4567238" y="4022750"/>
              <a:ext cx="727075" cy="757238"/>
            </a:xfrm>
            <a:custGeom>
              <a:avLst/>
              <a:gdLst/>
              <a:ahLst/>
              <a:cxnLst>
                <a:cxn ang="0">
                  <a:pos x="0" y="795"/>
                </a:cxn>
                <a:cxn ang="0">
                  <a:pos x="0" y="0"/>
                </a:cxn>
                <a:cxn ang="0">
                  <a:pos x="28" y="1"/>
                </a:cxn>
                <a:cxn ang="0">
                  <a:pos x="55" y="2"/>
                </a:cxn>
                <a:cxn ang="0">
                  <a:pos x="83" y="3"/>
                </a:cxn>
                <a:cxn ang="0">
                  <a:pos x="111" y="6"/>
                </a:cxn>
                <a:cxn ang="0">
                  <a:pos x="139" y="9"/>
                </a:cxn>
                <a:cxn ang="0">
                  <a:pos x="166" y="13"/>
                </a:cxn>
                <a:cxn ang="0">
                  <a:pos x="194" y="17"/>
                </a:cxn>
                <a:cxn ang="0">
                  <a:pos x="221" y="22"/>
                </a:cxn>
                <a:cxn ang="0">
                  <a:pos x="248" y="28"/>
                </a:cxn>
                <a:cxn ang="0">
                  <a:pos x="275" y="34"/>
                </a:cxn>
                <a:cxn ang="0">
                  <a:pos x="302" y="42"/>
                </a:cxn>
                <a:cxn ang="0">
                  <a:pos x="329" y="49"/>
                </a:cxn>
                <a:cxn ang="0">
                  <a:pos x="355" y="58"/>
                </a:cxn>
                <a:cxn ang="0">
                  <a:pos x="382" y="67"/>
                </a:cxn>
                <a:cxn ang="0">
                  <a:pos x="395" y="71"/>
                </a:cxn>
                <a:cxn ang="0">
                  <a:pos x="408" y="76"/>
                </a:cxn>
                <a:cxn ang="0">
                  <a:pos x="434" y="87"/>
                </a:cxn>
                <a:cxn ang="0">
                  <a:pos x="459" y="98"/>
                </a:cxn>
                <a:cxn ang="0">
                  <a:pos x="484" y="109"/>
                </a:cxn>
                <a:cxn ang="0">
                  <a:pos x="509" y="121"/>
                </a:cxn>
                <a:cxn ang="0">
                  <a:pos x="534" y="134"/>
                </a:cxn>
                <a:cxn ang="0">
                  <a:pos x="559" y="147"/>
                </a:cxn>
                <a:cxn ang="0">
                  <a:pos x="583" y="161"/>
                </a:cxn>
                <a:cxn ang="0">
                  <a:pos x="606" y="176"/>
                </a:cxn>
                <a:cxn ang="0">
                  <a:pos x="630" y="191"/>
                </a:cxn>
                <a:cxn ang="0">
                  <a:pos x="653" y="207"/>
                </a:cxn>
                <a:cxn ang="0">
                  <a:pos x="675" y="223"/>
                </a:cxn>
                <a:cxn ang="0">
                  <a:pos x="697" y="240"/>
                </a:cxn>
                <a:cxn ang="0">
                  <a:pos x="719" y="257"/>
                </a:cxn>
                <a:cxn ang="0">
                  <a:pos x="740" y="275"/>
                </a:cxn>
                <a:cxn ang="0">
                  <a:pos x="761" y="294"/>
                </a:cxn>
                <a:cxn ang="0">
                  <a:pos x="771" y="303"/>
                </a:cxn>
                <a:cxn ang="0">
                  <a:pos x="781" y="313"/>
                </a:cxn>
                <a:cxn ang="0">
                  <a:pos x="801" y="332"/>
                </a:cxn>
                <a:cxn ang="0">
                  <a:pos x="824" y="355"/>
                </a:cxn>
                <a:cxn ang="0">
                  <a:pos x="845" y="379"/>
                </a:cxn>
                <a:cxn ang="0">
                  <a:pos x="866" y="403"/>
                </a:cxn>
                <a:cxn ang="0">
                  <a:pos x="886" y="427"/>
                </a:cxn>
                <a:cxn ang="0">
                  <a:pos x="266" y="923"/>
                </a:cxn>
                <a:cxn ang="0">
                  <a:pos x="254" y="909"/>
                </a:cxn>
                <a:cxn ang="0">
                  <a:pos x="241" y="895"/>
                </a:cxn>
                <a:cxn ang="0">
                  <a:pos x="227" y="882"/>
                </a:cxn>
                <a:cxn ang="0">
                  <a:pos x="213" y="870"/>
                </a:cxn>
                <a:cxn ang="0">
                  <a:pos x="206" y="864"/>
                </a:cxn>
                <a:cxn ang="0">
                  <a:pos x="198" y="859"/>
                </a:cxn>
                <a:cxn ang="0">
                  <a:pos x="190" y="853"/>
                </a:cxn>
                <a:cxn ang="0">
                  <a:pos x="183" y="848"/>
                </a:cxn>
                <a:cxn ang="0">
                  <a:pos x="166" y="839"/>
                </a:cxn>
                <a:cxn ang="0">
                  <a:pos x="150" y="830"/>
                </a:cxn>
                <a:cxn ang="0">
                  <a:pos x="141" y="826"/>
                </a:cxn>
                <a:cxn ang="0">
                  <a:pos x="133" y="822"/>
                </a:cxn>
                <a:cxn ang="0">
                  <a:pos x="115" y="815"/>
                </a:cxn>
                <a:cxn ang="0">
                  <a:pos x="106" y="812"/>
                </a:cxn>
                <a:cxn ang="0">
                  <a:pos x="97" y="809"/>
                </a:cxn>
                <a:cxn ang="0">
                  <a:pos x="78" y="804"/>
                </a:cxn>
                <a:cxn ang="0">
                  <a:pos x="59" y="800"/>
                </a:cxn>
                <a:cxn ang="0">
                  <a:pos x="40" y="797"/>
                </a:cxn>
                <a:cxn ang="0">
                  <a:pos x="20" y="796"/>
                </a:cxn>
                <a:cxn ang="0">
                  <a:pos x="10" y="795"/>
                </a:cxn>
                <a:cxn ang="0">
                  <a:pos x="0" y="795"/>
                </a:cxn>
              </a:cxnLst>
              <a:rect l="0" t="0" r="r" b="b"/>
              <a:pathLst>
                <a:path w="886" h="923">
                  <a:moveTo>
                    <a:pt x="0" y="795"/>
                  </a:moveTo>
                  <a:lnTo>
                    <a:pt x="0" y="0"/>
                  </a:lnTo>
                  <a:lnTo>
                    <a:pt x="28" y="1"/>
                  </a:lnTo>
                  <a:lnTo>
                    <a:pt x="55" y="2"/>
                  </a:lnTo>
                  <a:lnTo>
                    <a:pt x="83" y="3"/>
                  </a:lnTo>
                  <a:lnTo>
                    <a:pt x="111" y="6"/>
                  </a:lnTo>
                  <a:lnTo>
                    <a:pt x="139" y="9"/>
                  </a:lnTo>
                  <a:lnTo>
                    <a:pt x="166" y="13"/>
                  </a:lnTo>
                  <a:lnTo>
                    <a:pt x="194" y="17"/>
                  </a:lnTo>
                  <a:lnTo>
                    <a:pt x="221" y="22"/>
                  </a:lnTo>
                  <a:lnTo>
                    <a:pt x="248" y="28"/>
                  </a:lnTo>
                  <a:lnTo>
                    <a:pt x="275" y="34"/>
                  </a:lnTo>
                  <a:lnTo>
                    <a:pt x="302" y="42"/>
                  </a:lnTo>
                  <a:lnTo>
                    <a:pt x="329" y="49"/>
                  </a:lnTo>
                  <a:lnTo>
                    <a:pt x="355" y="58"/>
                  </a:lnTo>
                  <a:lnTo>
                    <a:pt x="382" y="67"/>
                  </a:lnTo>
                  <a:lnTo>
                    <a:pt x="395" y="71"/>
                  </a:lnTo>
                  <a:lnTo>
                    <a:pt x="408" y="76"/>
                  </a:lnTo>
                  <a:lnTo>
                    <a:pt x="434" y="87"/>
                  </a:lnTo>
                  <a:lnTo>
                    <a:pt x="459" y="98"/>
                  </a:lnTo>
                  <a:lnTo>
                    <a:pt x="484" y="109"/>
                  </a:lnTo>
                  <a:lnTo>
                    <a:pt x="509" y="121"/>
                  </a:lnTo>
                  <a:lnTo>
                    <a:pt x="534" y="134"/>
                  </a:lnTo>
                  <a:lnTo>
                    <a:pt x="559" y="147"/>
                  </a:lnTo>
                  <a:lnTo>
                    <a:pt x="583" y="161"/>
                  </a:lnTo>
                  <a:lnTo>
                    <a:pt x="606" y="176"/>
                  </a:lnTo>
                  <a:lnTo>
                    <a:pt x="630" y="191"/>
                  </a:lnTo>
                  <a:lnTo>
                    <a:pt x="653" y="207"/>
                  </a:lnTo>
                  <a:lnTo>
                    <a:pt x="675" y="223"/>
                  </a:lnTo>
                  <a:lnTo>
                    <a:pt x="697" y="240"/>
                  </a:lnTo>
                  <a:lnTo>
                    <a:pt x="719" y="257"/>
                  </a:lnTo>
                  <a:lnTo>
                    <a:pt x="740" y="275"/>
                  </a:lnTo>
                  <a:lnTo>
                    <a:pt x="761" y="294"/>
                  </a:lnTo>
                  <a:lnTo>
                    <a:pt x="771" y="303"/>
                  </a:lnTo>
                  <a:lnTo>
                    <a:pt x="781" y="313"/>
                  </a:lnTo>
                  <a:lnTo>
                    <a:pt x="801" y="332"/>
                  </a:lnTo>
                  <a:lnTo>
                    <a:pt x="824" y="355"/>
                  </a:lnTo>
                  <a:lnTo>
                    <a:pt x="845" y="379"/>
                  </a:lnTo>
                  <a:lnTo>
                    <a:pt x="866" y="403"/>
                  </a:lnTo>
                  <a:lnTo>
                    <a:pt x="886" y="427"/>
                  </a:lnTo>
                  <a:lnTo>
                    <a:pt x="266" y="923"/>
                  </a:lnTo>
                  <a:lnTo>
                    <a:pt x="254" y="909"/>
                  </a:lnTo>
                  <a:lnTo>
                    <a:pt x="241" y="895"/>
                  </a:lnTo>
                  <a:lnTo>
                    <a:pt x="227" y="882"/>
                  </a:lnTo>
                  <a:lnTo>
                    <a:pt x="213" y="870"/>
                  </a:lnTo>
                  <a:lnTo>
                    <a:pt x="206" y="864"/>
                  </a:lnTo>
                  <a:lnTo>
                    <a:pt x="198" y="859"/>
                  </a:lnTo>
                  <a:lnTo>
                    <a:pt x="190" y="853"/>
                  </a:lnTo>
                  <a:lnTo>
                    <a:pt x="183" y="848"/>
                  </a:lnTo>
                  <a:lnTo>
                    <a:pt x="166" y="839"/>
                  </a:lnTo>
                  <a:lnTo>
                    <a:pt x="150" y="830"/>
                  </a:lnTo>
                  <a:lnTo>
                    <a:pt x="141" y="826"/>
                  </a:lnTo>
                  <a:lnTo>
                    <a:pt x="133" y="822"/>
                  </a:lnTo>
                  <a:lnTo>
                    <a:pt x="115" y="815"/>
                  </a:lnTo>
                  <a:lnTo>
                    <a:pt x="106" y="812"/>
                  </a:lnTo>
                  <a:lnTo>
                    <a:pt x="97" y="809"/>
                  </a:lnTo>
                  <a:lnTo>
                    <a:pt x="78" y="804"/>
                  </a:lnTo>
                  <a:lnTo>
                    <a:pt x="59" y="800"/>
                  </a:lnTo>
                  <a:lnTo>
                    <a:pt x="40" y="797"/>
                  </a:lnTo>
                  <a:lnTo>
                    <a:pt x="20" y="796"/>
                  </a:lnTo>
                  <a:lnTo>
                    <a:pt x="10" y="795"/>
                  </a:lnTo>
                  <a:lnTo>
                    <a:pt x="0" y="795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0" name="Freeform 146"/>
            <p:cNvSpPr>
              <a:spLocks noChangeAspect="1"/>
            </p:cNvSpPr>
            <p:nvPr/>
          </p:nvSpPr>
          <p:spPr bwMode="auto">
            <a:xfrm>
              <a:off x="4786313" y="4372000"/>
              <a:ext cx="711200" cy="788988"/>
            </a:xfrm>
            <a:custGeom>
              <a:avLst/>
              <a:gdLst/>
              <a:ahLst/>
              <a:cxnLst>
                <a:cxn ang="0">
                  <a:pos x="620" y="0"/>
                </a:cxn>
                <a:cxn ang="0">
                  <a:pos x="654" y="45"/>
                </a:cxn>
                <a:cxn ang="0">
                  <a:pos x="685" y="91"/>
                </a:cxn>
                <a:cxn ang="0">
                  <a:pos x="714" y="138"/>
                </a:cxn>
                <a:cxn ang="0">
                  <a:pos x="741" y="188"/>
                </a:cxn>
                <a:cxn ang="0">
                  <a:pos x="765" y="238"/>
                </a:cxn>
                <a:cxn ang="0">
                  <a:pos x="782" y="276"/>
                </a:cxn>
                <a:cxn ang="0">
                  <a:pos x="797" y="315"/>
                </a:cxn>
                <a:cxn ang="0">
                  <a:pos x="815" y="368"/>
                </a:cxn>
                <a:cxn ang="0">
                  <a:pos x="830" y="421"/>
                </a:cxn>
                <a:cxn ang="0">
                  <a:pos x="840" y="462"/>
                </a:cxn>
                <a:cxn ang="0">
                  <a:pos x="849" y="503"/>
                </a:cxn>
                <a:cxn ang="0">
                  <a:pos x="858" y="558"/>
                </a:cxn>
                <a:cxn ang="0">
                  <a:pos x="864" y="613"/>
                </a:cxn>
                <a:cxn ang="0">
                  <a:pos x="867" y="668"/>
                </a:cxn>
                <a:cxn ang="0">
                  <a:pos x="868" y="724"/>
                </a:cxn>
                <a:cxn ang="0">
                  <a:pos x="865" y="780"/>
                </a:cxn>
                <a:cxn ang="0">
                  <a:pos x="860" y="835"/>
                </a:cxn>
                <a:cxn ang="0">
                  <a:pos x="854" y="882"/>
                </a:cxn>
                <a:cxn ang="0">
                  <a:pos x="846" y="929"/>
                </a:cxn>
                <a:cxn ang="0">
                  <a:pos x="839" y="961"/>
                </a:cxn>
                <a:cxn ang="0">
                  <a:pos x="68" y="775"/>
                </a:cxn>
                <a:cxn ang="0">
                  <a:pos x="72" y="747"/>
                </a:cxn>
                <a:cxn ang="0">
                  <a:pos x="74" y="708"/>
                </a:cxn>
                <a:cxn ang="0">
                  <a:pos x="73" y="678"/>
                </a:cxn>
                <a:cxn ang="0">
                  <a:pos x="69" y="649"/>
                </a:cxn>
                <a:cxn ang="0">
                  <a:pos x="63" y="621"/>
                </a:cxn>
                <a:cxn ang="0">
                  <a:pos x="54" y="594"/>
                </a:cxn>
                <a:cxn ang="0">
                  <a:pos x="44" y="568"/>
                </a:cxn>
                <a:cxn ang="0">
                  <a:pos x="31" y="542"/>
                </a:cxn>
                <a:cxn ang="0">
                  <a:pos x="16" y="519"/>
                </a:cxn>
                <a:cxn ang="0">
                  <a:pos x="0" y="496"/>
                </a:cxn>
              </a:cxnLst>
              <a:rect l="0" t="0" r="r" b="b"/>
              <a:pathLst>
                <a:path w="868" h="961">
                  <a:moveTo>
                    <a:pt x="0" y="496"/>
                  </a:moveTo>
                  <a:lnTo>
                    <a:pt x="620" y="0"/>
                  </a:lnTo>
                  <a:lnTo>
                    <a:pt x="637" y="22"/>
                  </a:lnTo>
                  <a:lnTo>
                    <a:pt x="654" y="45"/>
                  </a:lnTo>
                  <a:lnTo>
                    <a:pt x="670" y="67"/>
                  </a:lnTo>
                  <a:lnTo>
                    <a:pt x="685" y="91"/>
                  </a:lnTo>
                  <a:lnTo>
                    <a:pt x="700" y="114"/>
                  </a:lnTo>
                  <a:lnTo>
                    <a:pt x="714" y="138"/>
                  </a:lnTo>
                  <a:lnTo>
                    <a:pt x="728" y="163"/>
                  </a:lnTo>
                  <a:lnTo>
                    <a:pt x="741" y="188"/>
                  </a:lnTo>
                  <a:lnTo>
                    <a:pt x="753" y="213"/>
                  </a:lnTo>
                  <a:lnTo>
                    <a:pt x="765" y="238"/>
                  </a:lnTo>
                  <a:lnTo>
                    <a:pt x="776" y="263"/>
                  </a:lnTo>
                  <a:lnTo>
                    <a:pt x="782" y="276"/>
                  </a:lnTo>
                  <a:lnTo>
                    <a:pt x="787" y="289"/>
                  </a:lnTo>
                  <a:lnTo>
                    <a:pt x="797" y="315"/>
                  </a:lnTo>
                  <a:lnTo>
                    <a:pt x="806" y="341"/>
                  </a:lnTo>
                  <a:lnTo>
                    <a:pt x="815" y="368"/>
                  </a:lnTo>
                  <a:lnTo>
                    <a:pt x="823" y="394"/>
                  </a:lnTo>
                  <a:lnTo>
                    <a:pt x="830" y="421"/>
                  </a:lnTo>
                  <a:lnTo>
                    <a:pt x="837" y="448"/>
                  </a:lnTo>
                  <a:lnTo>
                    <a:pt x="840" y="462"/>
                  </a:lnTo>
                  <a:lnTo>
                    <a:pt x="843" y="475"/>
                  </a:lnTo>
                  <a:lnTo>
                    <a:pt x="849" y="503"/>
                  </a:lnTo>
                  <a:lnTo>
                    <a:pt x="854" y="530"/>
                  </a:lnTo>
                  <a:lnTo>
                    <a:pt x="858" y="558"/>
                  </a:lnTo>
                  <a:lnTo>
                    <a:pt x="861" y="585"/>
                  </a:lnTo>
                  <a:lnTo>
                    <a:pt x="864" y="613"/>
                  </a:lnTo>
                  <a:lnTo>
                    <a:pt x="866" y="641"/>
                  </a:lnTo>
                  <a:lnTo>
                    <a:pt x="867" y="668"/>
                  </a:lnTo>
                  <a:lnTo>
                    <a:pt x="868" y="696"/>
                  </a:lnTo>
                  <a:lnTo>
                    <a:pt x="868" y="724"/>
                  </a:lnTo>
                  <a:lnTo>
                    <a:pt x="867" y="752"/>
                  </a:lnTo>
                  <a:lnTo>
                    <a:pt x="865" y="780"/>
                  </a:lnTo>
                  <a:lnTo>
                    <a:pt x="863" y="807"/>
                  </a:lnTo>
                  <a:lnTo>
                    <a:pt x="860" y="835"/>
                  </a:lnTo>
                  <a:lnTo>
                    <a:pt x="856" y="867"/>
                  </a:lnTo>
                  <a:lnTo>
                    <a:pt x="854" y="882"/>
                  </a:lnTo>
                  <a:lnTo>
                    <a:pt x="851" y="898"/>
                  </a:lnTo>
                  <a:lnTo>
                    <a:pt x="846" y="929"/>
                  </a:lnTo>
                  <a:lnTo>
                    <a:pt x="842" y="945"/>
                  </a:lnTo>
                  <a:lnTo>
                    <a:pt x="839" y="961"/>
                  </a:lnTo>
                  <a:lnTo>
                    <a:pt x="66" y="784"/>
                  </a:lnTo>
                  <a:lnTo>
                    <a:pt x="68" y="775"/>
                  </a:lnTo>
                  <a:lnTo>
                    <a:pt x="69" y="766"/>
                  </a:lnTo>
                  <a:lnTo>
                    <a:pt x="72" y="747"/>
                  </a:lnTo>
                  <a:lnTo>
                    <a:pt x="74" y="728"/>
                  </a:lnTo>
                  <a:lnTo>
                    <a:pt x="74" y="708"/>
                  </a:lnTo>
                  <a:lnTo>
                    <a:pt x="74" y="693"/>
                  </a:lnTo>
                  <a:lnTo>
                    <a:pt x="73" y="678"/>
                  </a:lnTo>
                  <a:lnTo>
                    <a:pt x="71" y="664"/>
                  </a:lnTo>
                  <a:lnTo>
                    <a:pt x="69" y="649"/>
                  </a:lnTo>
                  <a:lnTo>
                    <a:pt x="66" y="635"/>
                  </a:lnTo>
                  <a:lnTo>
                    <a:pt x="63" y="621"/>
                  </a:lnTo>
                  <a:lnTo>
                    <a:pt x="59" y="607"/>
                  </a:lnTo>
                  <a:lnTo>
                    <a:pt x="54" y="594"/>
                  </a:lnTo>
                  <a:lnTo>
                    <a:pt x="49" y="581"/>
                  </a:lnTo>
                  <a:lnTo>
                    <a:pt x="44" y="568"/>
                  </a:lnTo>
                  <a:lnTo>
                    <a:pt x="38" y="555"/>
                  </a:lnTo>
                  <a:lnTo>
                    <a:pt x="31" y="542"/>
                  </a:lnTo>
                  <a:lnTo>
                    <a:pt x="24" y="530"/>
                  </a:lnTo>
                  <a:lnTo>
                    <a:pt x="16" y="519"/>
                  </a:lnTo>
                  <a:lnTo>
                    <a:pt x="8" y="507"/>
                  </a:lnTo>
                  <a:lnTo>
                    <a:pt x="0" y="49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1" name="Freeform 147"/>
            <p:cNvSpPr>
              <a:spLocks noChangeAspect="1"/>
            </p:cNvSpPr>
            <p:nvPr/>
          </p:nvSpPr>
          <p:spPr bwMode="auto">
            <a:xfrm>
              <a:off x="4687888" y="5014938"/>
              <a:ext cx="785813" cy="776288"/>
            </a:xfrm>
            <a:custGeom>
              <a:avLst/>
              <a:gdLst/>
              <a:ahLst/>
              <a:cxnLst>
                <a:cxn ang="0">
                  <a:pos x="185" y="0"/>
                </a:cxn>
                <a:cxn ang="0">
                  <a:pos x="958" y="177"/>
                </a:cxn>
                <a:cxn ang="0">
                  <a:pos x="951" y="204"/>
                </a:cxn>
                <a:cxn ang="0">
                  <a:pos x="944" y="230"/>
                </a:cxn>
                <a:cxn ang="0">
                  <a:pos x="936" y="257"/>
                </a:cxn>
                <a:cxn ang="0">
                  <a:pos x="928" y="284"/>
                </a:cxn>
                <a:cxn ang="0">
                  <a:pos x="919" y="310"/>
                </a:cxn>
                <a:cxn ang="0">
                  <a:pos x="909" y="336"/>
                </a:cxn>
                <a:cxn ang="0">
                  <a:pos x="899" y="362"/>
                </a:cxn>
                <a:cxn ang="0">
                  <a:pos x="888" y="387"/>
                </a:cxn>
                <a:cxn ang="0">
                  <a:pos x="876" y="413"/>
                </a:cxn>
                <a:cxn ang="0">
                  <a:pos x="863" y="438"/>
                </a:cxn>
                <a:cxn ang="0">
                  <a:pos x="851" y="462"/>
                </a:cxn>
                <a:cxn ang="0">
                  <a:pos x="837" y="486"/>
                </a:cxn>
                <a:cxn ang="0">
                  <a:pos x="823" y="511"/>
                </a:cxn>
                <a:cxn ang="0">
                  <a:pos x="808" y="535"/>
                </a:cxn>
                <a:cxn ang="0">
                  <a:pos x="793" y="558"/>
                </a:cxn>
                <a:cxn ang="0">
                  <a:pos x="777" y="581"/>
                </a:cxn>
                <a:cxn ang="0">
                  <a:pos x="761" y="604"/>
                </a:cxn>
                <a:cxn ang="0">
                  <a:pos x="744" y="626"/>
                </a:cxn>
                <a:cxn ang="0">
                  <a:pos x="727" y="648"/>
                </a:cxn>
                <a:cxn ang="0">
                  <a:pos x="709" y="669"/>
                </a:cxn>
                <a:cxn ang="0">
                  <a:pos x="690" y="690"/>
                </a:cxn>
                <a:cxn ang="0">
                  <a:pos x="681" y="700"/>
                </a:cxn>
                <a:cxn ang="0">
                  <a:pos x="671" y="710"/>
                </a:cxn>
                <a:cxn ang="0">
                  <a:pos x="652" y="730"/>
                </a:cxn>
                <a:cxn ang="0">
                  <a:pos x="632" y="749"/>
                </a:cxn>
                <a:cxn ang="0">
                  <a:pos x="611" y="768"/>
                </a:cxn>
                <a:cxn ang="0">
                  <a:pos x="591" y="787"/>
                </a:cxn>
                <a:cxn ang="0">
                  <a:pos x="569" y="804"/>
                </a:cxn>
                <a:cxn ang="0">
                  <a:pos x="547" y="822"/>
                </a:cxn>
                <a:cxn ang="0">
                  <a:pos x="525" y="839"/>
                </a:cxn>
                <a:cxn ang="0">
                  <a:pos x="502" y="855"/>
                </a:cxn>
                <a:cxn ang="0">
                  <a:pos x="479" y="870"/>
                </a:cxn>
                <a:cxn ang="0">
                  <a:pos x="456" y="885"/>
                </a:cxn>
                <a:cxn ang="0">
                  <a:pos x="442" y="894"/>
                </a:cxn>
                <a:cxn ang="0">
                  <a:pos x="429" y="902"/>
                </a:cxn>
                <a:cxn ang="0">
                  <a:pos x="401" y="918"/>
                </a:cxn>
                <a:cxn ang="0">
                  <a:pos x="373" y="933"/>
                </a:cxn>
                <a:cxn ang="0">
                  <a:pos x="345" y="947"/>
                </a:cxn>
                <a:cxn ang="0">
                  <a:pos x="0" y="231"/>
                </a:cxn>
                <a:cxn ang="0">
                  <a:pos x="17" y="222"/>
                </a:cxn>
                <a:cxn ang="0">
                  <a:pos x="34" y="212"/>
                </a:cxn>
                <a:cxn ang="0">
                  <a:pos x="50" y="202"/>
                </a:cxn>
                <a:cxn ang="0">
                  <a:pos x="65" y="190"/>
                </a:cxn>
                <a:cxn ang="0">
                  <a:pos x="79" y="178"/>
                </a:cxn>
                <a:cxn ang="0">
                  <a:pos x="93" y="165"/>
                </a:cxn>
                <a:cxn ang="0">
                  <a:pos x="106" y="152"/>
                </a:cxn>
                <a:cxn ang="0">
                  <a:pos x="118" y="137"/>
                </a:cxn>
                <a:cxn ang="0">
                  <a:pos x="130" y="122"/>
                </a:cxn>
                <a:cxn ang="0">
                  <a:pos x="140" y="106"/>
                </a:cxn>
                <a:cxn ang="0">
                  <a:pos x="145" y="98"/>
                </a:cxn>
                <a:cxn ang="0">
                  <a:pos x="150" y="90"/>
                </a:cxn>
                <a:cxn ang="0">
                  <a:pos x="159" y="73"/>
                </a:cxn>
                <a:cxn ang="0">
                  <a:pos x="167" y="55"/>
                </a:cxn>
                <a:cxn ang="0">
                  <a:pos x="174" y="37"/>
                </a:cxn>
                <a:cxn ang="0">
                  <a:pos x="177" y="28"/>
                </a:cxn>
                <a:cxn ang="0">
                  <a:pos x="180" y="19"/>
                </a:cxn>
                <a:cxn ang="0">
                  <a:pos x="185" y="0"/>
                </a:cxn>
              </a:cxnLst>
              <a:rect l="0" t="0" r="r" b="b"/>
              <a:pathLst>
                <a:path w="958" h="947">
                  <a:moveTo>
                    <a:pt x="185" y="0"/>
                  </a:moveTo>
                  <a:lnTo>
                    <a:pt x="958" y="177"/>
                  </a:lnTo>
                  <a:lnTo>
                    <a:pt x="951" y="204"/>
                  </a:lnTo>
                  <a:lnTo>
                    <a:pt x="944" y="230"/>
                  </a:lnTo>
                  <a:lnTo>
                    <a:pt x="936" y="257"/>
                  </a:lnTo>
                  <a:lnTo>
                    <a:pt x="928" y="284"/>
                  </a:lnTo>
                  <a:lnTo>
                    <a:pt x="919" y="310"/>
                  </a:lnTo>
                  <a:lnTo>
                    <a:pt x="909" y="336"/>
                  </a:lnTo>
                  <a:lnTo>
                    <a:pt x="899" y="362"/>
                  </a:lnTo>
                  <a:lnTo>
                    <a:pt x="888" y="387"/>
                  </a:lnTo>
                  <a:lnTo>
                    <a:pt x="876" y="413"/>
                  </a:lnTo>
                  <a:lnTo>
                    <a:pt x="863" y="438"/>
                  </a:lnTo>
                  <a:lnTo>
                    <a:pt x="851" y="462"/>
                  </a:lnTo>
                  <a:lnTo>
                    <a:pt x="837" y="486"/>
                  </a:lnTo>
                  <a:lnTo>
                    <a:pt x="823" y="511"/>
                  </a:lnTo>
                  <a:lnTo>
                    <a:pt x="808" y="535"/>
                  </a:lnTo>
                  <a:lnTo>
                    <a:pt x="793" y="558"/>
                  </a:lnTo>
                  <a:lnTo>
                    <a:pt x="777" y="581"/>
                  </a:lnTo>
                  <a:lnTo>
                    <a:pt x="761" y="604"/>
                  </a:lnTo>
                  <a:lnTo>
                    <a:pt x="744" y="626"/>
                  </a:lnTo>
                  <a:lnTo>
                    <a:pt x="727" y="648"/>
                  </a:lnTo>
                  <a:lnTo>
                    <a:pt x="709" y="669"/>
                  </a:lnTo>
                  <a:lnTo>
                    <a:pt x="690" y="690"/>
                  </a:lnTo>
                  <a:lnTo>
                    <a:pt x="681" y="700"/>
                  </a:lnTo>
                  <a:lnTo>
                    <a:pt x="671" y="710"/>
                  </a:lnTo>
                  <a:lnTo>
                    <a:pt x="652" y="730"/>
                  </a:lnTo>
                  <a:lnTo>
                    <a:pt x="632" y="749"/>
                  </a:lnTo>
                  <a:lnTo>
                    <a:pt x="611" y="768"/>
                  </a:lnTo>
                  <a:lnTo>
                    <a:pt x="591" y="787"/>
                  </a:lnTo>
                  <a:lnTo>
                    <a:pt x="569" y="804"/>
                  </a:lnTo>
                  <a:lnTo>
                    <a:pt x="547" y="822"/>
                  </a:lnTo>
                  <a:lnTo>
                    <a:pt x="525" y="839"/>
                  </a:lnTo>
                  <a:lnTo>
                    <a:pt x="502" y="855"/>
                  </a:lnTo>
                  <a:lnTo>
                    <a:pt x="479" y="870"/>
                  </a:lnTo>
                  <a:lnTo>
                    <a:pt x="456" y="885"/>
                  </a:lnTo>
                  <a:lnTo>
                    <a:pt x="442" y="894"/>
                  </a:lnTo>
                  <a:lnTo>
                    <a:pt x="429" y="902"/>
                  </a:lnTo>
                  <a:lnTo>
                    <a:pt x="401" y="918"/>
                  </a:lnTo>
                  <a:lnTo>
                    <a:pt x="373" y="933"/>
                  </a:lnTo>
                  <a:lnTo>
                    <a:pt x="345" y="947"/>
                  </a:lnTo>
                  <a:lnTo>
                    <a:pt x="0" y="231"/>
                  </a:lnTo>
                  <a:lnTo>
                    <a:pt x="17" y="222"/>
                  </a:lnTo>
                  <a:lnTo>
                    <a:pt x="34" y="212"/>
                  </a:lnTo>
                  <a:lnTo>
                    <a:pt x="50" y="202"/>
                  </a:lnTo>
                  <a:lnTo>
                    <a:pt x="65" y="190"/>
                  </a:lnTo>
                  <a:lnTo>
                    <a:pt x="79" y="178"/>
                  </a:lnTo>
                  <a:lnTo>
                    <a:pt x="93" y="165"/>
                  </a:lnTo>
                  <a:lnTo>
                    <a:pt x="106" y="152"/>
                  </a:lnTo>
                  <a:lnTo>
                    <a:pt x="118" y="137"/>
                  </a:lnTo>
                  <a:lnTo>
                    <a:pt x="130" y="122"/>
                  </a:lnTo>
                  <a:lnTo>
                    <a:pt x="140" y="106"/>
                  </a:lnTo>
                  <a:lnTo>
                    <a:pt x="145" y="98"/>
                  </a:lnTo>
                  <a:lnTo>
                    <a:pt x="150" y="90"/>
                  </a:lnTo>
                  <a:lnTo>
                    <a:pt x="159" y="73"/>
                  </a:lnTo>
                  <a:lnTo>
                    <a:pt x="167" y="55"/>
                  </a:lnTo>
                  <a:lnTo>
                    <a:pt x="174" y="37"/>
                  </a:lnTo>
                  <a:lnTo>
                    <a:pt x="177" y="28"/>
                  </a:lnTo>
                  <a:lnTo>
                    <a:pt x="180" y="19"/>
                  </a:lnTo>
                  <a:lnTo>
                    <a:pt x="185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2" name="Freeform 148"/>
            <p:cNvSpPr>
              <a:spLocks noChangeAspect="1"/>
            </p:cNvSpPr>
            <p:nvPr/>
          </p:nvSpPr>
          <p:spPr bwMode="auto">
            <a:xfrm>
              <a:off x="4164013" y="5205438"/>
              <a:ext cx="806450" cy="677863"/>
            </a:xfrm>
            <a:custGeom>
              <a:avLst/>
              <a:gdLst/>
              <a:ahLst/>
              <a:cxnLst>
                <a:cxn ang="0">
                  <a:pos x="640" y="0"/>
                </a:cxn>
                <a:cxn ang="0">
                  <a:pos x="985" y="716"/>
                </a:cxn>
                <a:cxn ang="0">
                  <a:pos x="959" y="728"/>
                </a:cxn>
                <a:cxn ang="0">
                  <a:pos x="934" y="739"/>
                </a:cxn>
                <a:cxn ang="0">
                  <a:pos x="908" y="749"/>
                </a:cxn>
                <a:cxn ang="0">
                  <a:pos x="882" y="759"/>
                </a:cxn>
                <a:cxn ang="0">
                  <a:pos x="856" y="768"/>
                </a:cxn>
                <a:cxn ang="0">
                  <a:pos x="829" y="777"/>
                </a:cxn>
                <a:cxn ang="0">
                  <a:pos x="803" y="785"/>
                </a:cxn>
                <a:cxn ang="0">
                  <a:pos x="776" y="792"/>
                </a:cxn>
                <a:cxn ang="0">
                  <a:pos x="749" y="799"/>
                </a:cxn>
                <a:cxn ang="0">
                  <a:pos x="722" y="805"/>
                </a:cxn>
                <a:cxn ang="0">
                  <a:pos x="694" y="810"/>
                </a:cxn>
                <a:cxn ang="0">
                  <a:pos x="667" y="814"/>
                </a:cxn>
                <a:cxn ang="0">
                  <a:pos x="639" y="818"/>
                </a:cxn>
                <a:cxn ang="0">
                  <a:pos x="612" y="822"/>
                </a:cxn>
                <a:cxn ang="0">
                  <a:pos x="584" y="824"/>
                </a:cxn>
                <a:cxn ang="0">
                  <a:pos x="556" y="826"/>
                </a:cxn>
                <a:cxn ang="0">
                  <a:pos x="529" y="827"/>
                </a:cxn>
                <a:cxn ang="0">
                  <a:pos x="501" y="828"/>
                </a:cxn>
                <a:cxn ang="0">
                  <a:pos x="472" y="828"/>
                </a:cxn>
                <a:cxn ang="0">
                  <a:pos x="444" y="827"/>
                </a:cxn>
                <a:cxn ang="0">
                  <a:pos x="416" y="826"/>
                </a:cxn>
                <a:cxn ang="0">
                  <a:pos x="389" y="824"/>
                </a:cxn>
                <a:cxn ang="0">
                  <a:pos x="361" y="821"/>
                </a:cxn>
                <a:cxn ang="0">
                  <a:pos x="333" y="817"/>
                </a:cxn>
                <a:cxn ang="0">
                  <a:pos x="306" y="813"/>
                </a:cxn>
                <a:cxn ang="0">
                  <a:pos x="278" y="808"/>
                </a:cxn>
                <a:cxn ang="0">
                  <a:pos x="251" y="803"/>
                </a:cxn>
                <a:cxn ang="0">
                  <a:pos x="224" y="796"/>
                </a:cxn>
                <a:cxn ang="0">
                  <a:pos x="197" y="789"/>
                </a:cxn>
                <a:cxn ang="0">
                  <a:pos x="170" y="782"/>
                </a:cxn>
                <a:cxn ang="0">
                  <a:pos x="144" y="773"/>
                </a:cxn>
                <a:cxn ang="0">
                  <a:pos x="117" y="764"/>
                </a:cxn>
                <a:cxn ang="0">
                  <a:pos x="87" y="753"/>
                </a:cxn>
                <a:cxn ang="0">
                  <a:pos x="58" y="742"/>
                </a:cxn>
                <a:cxn ang="0">
                  <a:pos x="29" y="729"/>
                </a:cxn>
                <a:cxn ang="0">
                  <a:pos x="14" y="723"/>
                </a:cxn>
                <a:cxn ang="0">
                  <a:pos x="0" y="716"/>
                </a:cxn>
                <a:cxn ang="0">
                  <a:pos x="344" y="0"/>
                </a:cxn>
                <a:cxn ang="0">
                  <a:pos x="361" y="7"/>
                </a:cxn>
                <a:cxn ang="0">
                  <a:pos x="370" y="11"/>
                </a:cxn>
                <a:cxn ang="0">
                  <a:pos x="379" y="14"/>
                </a:cxn>
                <a:cxn ang="0">
                  <a:pos x="397" y="20"/>
                </a:cxn>
                <a:cxn ang="0">
                  <a:pos x="415" y="25"/>
                </a:cxn>
                <a:cxn ang="0">
                  <a:pos x="434" y="28"/>
                </a:cxn>
                <a:cxn ang="0">
                  <a:pos x="453" y="31"/>
                </a:cxn>
                <a:cxn ang="0">
                  <a:pos x="472" y="33"/>
                </a:cxn>
                <a:cxn ang="0">
                  <a:pos x="493" y="33"/>
                </a:cxn>
                <a:cxn ang="0">
                  <a:pos x="513" y="33"/>
                </a:cxn>
                <a:cxn ang="0">
                  <a:pos x="522" y="32"/>
                </a:cxn>
                <a:cxn ang="0">
                  <a:pos x="532" y="31"/>
                </a:cxn>
                <a:cxn ang="0">
                  <a:pos x="551" y="28"/>
                </a:cxn>
                <a:cxn ang="0">
                  <a:pos x="570" y="25"/>
                </a:cxn>
                <a:cxn ang="0">
                  <a:pos x="588" y="20"/>
                </a:cxn>
                <a:cxn ang="0">
                  <a:pos x="606" y="14"/>
                </a:cxn>
                <a:cxn ang="0">
                  <a:pos x="615" y="11"/>
                </a:cxn>
                <a:cxn ang="0">
                  <a:pos x="623" y="8"/>
                </a:cxn>
                <a:cxn ang="0">
                  <a:pos x="640" y="0"/>
                </a:cxn>
              </a:cxnLst>
              <a:rect l="0" t="0" r="r" b="b"/>
              <a:pathLst>
                <a:path w="985" h="828">
                  <a:moveTo>
                    <a:pt x="640" y="0"/>
                  </a:moveTo>
                  <a:lnTo>
                    <a:pt x="985" y="716"/>
                  </a:lnTo>
                  <a:lnTo>
                    <a:pt x="959" y="728"/>
                  </a:lnTo>
                  <a:lnTo>
                    <a:pt x="934" y="739"/>
                  </a:lnTo>
                  <a:lnTo>
                    <a:pt x="908" y="749"/>
                  </a:lnTo>
                  <a:lnTo>
                    <a:pt x="882" y="759"/>
                  </a:lnTo>
                  <a:lnTo>
                    <a:pt x="856" y="768"/>
                  </a:lnTo>
                  <a:lnTo>
                    <a:pt x="829" y="777"/>
                  </a:lnTo>
                  <a:lnTo>
                    <a:pt x="803" y="785"/>
                  </a:lnTo>
                  <a:lnTo>
                    <a:pt x="776" y="792"/>
                  </a:lnTo>
                  <a:lnTo>
                    <a:pt x="749" y="799"/>
                  </a:lnTo>
                  <a:lnTo>
                    <a:pt x="722" y="805"/>
                  </a:lnTo>
                  <a:lnTo>
                    <a:pt x="694" y="810"/>
                  </a:lnTo>
                  <a:lnTo>
                    <a:pt x="667" y="814"/>
                  </a:lnTo>
                  <a:lnTo>
                    <a:pt x="639" y="818"/>
                  </a:lnTo>
                  <a:lnTo>
                    <a:pt x="612" y="822"/>
                  </a:lnTo>
                  <a:lnTo>
                    <a:pt x="584" y="824"/>
                  </a:lnTo>
                  <a:lnTo>
                    <a:pt x="556" y="826"/>
                  </a:lnTo>
                  <a:lnTo>
                    <a:pt x="529" y="827"/>
                  </a:lnTo>
                  <a:lnTo>
                    <a:pt x="501" y="828"/>
                  </a:lnTo>
                  <a:lnTo>
                    <a:pt x="472" y="828"/>
                  </a:lnTo>
                  <a:lnTo>
                    <a:pt x="444" y="827"/>
                  </a:lnTo>
                  <a:lnTo>
                    <a:pt x="416" y="826"/>
                  </a:lnTo>
                  <a:lnTo>
                    <a:pt x="389" y="824"/>
                  </a:lnTo>
                  <a:lnTo>
                    <a:pt x="361" y="821"/>
                  </a:lnTo>
                  <a:lnTo>
                    <a:pt x="333" y="817"/>
                  </a:lnTo>
                  <a:lnTo>
                    <a:pt x="306" y="813"/>
                  </a:lnTo>
                  <a:lnTo>
                    <a:pt x="278" y="808"/>
                  </a:lnTo>
                  <a:lnTo>
                    <a:pt x="251" y="803"/>
                  </a:lnTo>
                  <a:lnTo>
                    <a:pt x="224" y="796"/>
                  </a:lnTo>
                  <a:lnTo>
                    <a:pt x="197" y="789"/>
                  </a:lnTo>
                  <a:lnTo>
                    <a:pt x="170" y="782"/>
                  </a:lnTo>
                  <a:lnTo>
                    <a:pt x="144" y="773"/>
                  </a:lnTo>
                  <a:lnTo>
                    <a:pt x="117" y="764"/>
                  </a:lnTo>
                  <a:lnTo>
                    <a:pt x="87" y="753"/>
                  </a:lnTo>
                  <a:lnTo>
                    <a:pt x="58" y="742"/>
                  </a:lnTo>
                  <a:lnTo>
                    <a:pt x="29" y="729"/>
                  </a:lnTo>
                  <a:lnTo>
                    <a:pt x="14" y="723"/>
                  </a:lnTo>
                  <a:lnTo>
                    <a:pt x="0" y="716"/>
                  </a:lnTo>
                  <a:lnTo>
                    <a:pt x="344" y="0"/>
                  </a:lnTo>
                  <a:lnTo>
                    <a:pt x="361" y="7"/>
                  </a:lnTo>
                  <a:lnTo>
                    <a:pt x="370" y="11"/>
                  </a:lnTo>
                  <a:lnTo>
                    <a:pt x="379" y="14"/>
                  </a:lnTo>
                  <a:lnTo>
                    <a:pt x="397" y="20"/>
                  </a:lnTo>
                  <a:lnTo>
                    <a:pt x="415" y="25"/>
                  </a:lnTo>
                  <a:lnTo>
                    <a:pt x="434" y="28"/>
                  </a:lnTo>
                  <a:lnTo>
                    <a:pt x="453" y="31"/>
                  </a:lnTo>
                  <a:lnTo>
                    <a:pt x="472" y="33"/>
                  </a:lnTo>
                  <a:lnTo>
                    <a:pt x="493" y="33"/>
                  </a:lnTo>
                  <a:lnTo>
                    <a:pt x="513" y="33"/>
                  </a:lnTo>
                  <a:lnTo>
                    <a:pt x="522" y="32"/>
                  </a:lnTo>
                  <a:lnTo>
                    <a:pt x="532" y="31"/>
                  </a:lnTo>
                  <a:lnTo>
                    <a:pt x="551" y="28"/>
                  </a:lnTo>
                  <a:lnTo>
                    <a:pt x="570" y="25"/>
                  </a:lnTo>
                  <a:lnTo>
                    <a:pt x="588" y="20"/>
                  </a:lnTo>
                  <a:lnTo>
                    <a:pt x="606" y="14"/>
                  </a:lnTo>
                  <a:lnTo>
                    <a:pt x="615" y="11"/>
                  </a:lnTo>
                  <a:lnTo>
                    <a:pt x="623" y="8"/>
                  </a:lnTo>
                  <a:lnTo>
                    <a:pt x="64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3" name="Freeform 149"/>
            <p:cNvSpPr>
              <a:spLocks noChangeAspect="1"/>
            </p:cNvSpPr>
            <p:nvPr/>
          </p:nvSpPr>
          <p:spPr bwMode="auto">
            <a:xfrm>
              <a:off x="3660776" y="5014938"/>
              <a:ext cx="784225" cy="776288"/>
            </a:xfrm>
            <a:custGeom>
              <a:avLst/>
              <a:gdLst/>
              <a:ahLst/>
              <a:cxnLst>
                <a:cxn ang="0">
                  <a:pos x="957" y="231"/>
                </a:cxn>
                <a:cxn ang="0">
                  <a:pos x="613" y="947"/>
                </a:cxn>
                <a:cxn ang="0">
                  <a:pos x="588" y="934"/>
                </a:cxn>
                <a:cxn ang="0">
                  <a:pos x="563" y="921"/>
                </a:cxn>
                <a:cxn ang="0">
                  <a:pos x="539" y="908"/>
                </a:cxn>
                <a:cxn ang="0">
                  <a:pos x="515" y="894"/>
                </a:cxn>
                <a:cxn ang="0">
                  <a:pos x="491" y="879"/>
                </a:cxn>
                <a:cxn ang="0">
                  <a:pos x="468" y="864"/>
                </a:cxn>
                <a:cxn ang="0">
                  <a:pos x="445" y="848"/>
                </a:cxn>
                <a:cxn ang="0">
                  <a:pos x="423" y="831"/>
                </a:cxn>
                <a:cxn ang="0">
                  <a:pos x="401" y="814"/>
                </a:cxn>
                <a:cxn ang="0">
                  <a:pos x="379" y="797"/>
                </a:cxn>
                <a:cxn ang="0">
                  <a:pos x="358" y="778"/>
                </a:cxn>
                <a:cxn ang="0">
                  <a:pos x="338" y="760"/>
                </a:cxn>
                <a:cxn ang="0">
                  <a:pos x="317" y="741"/>
                </a:cxn>
                <a:cxn ang="0">
                  <a:pos x="298" y="721"/>
                </a:cxn>
                <a:cxn ang="0">
                  <a:pos x="278" y="701"/>
                </a:cxn>
                <a:cxn ang="0">
                  <a:pos x="269" y="691"/>
                </a:cxn>
                <a:cxn ang="0">
                  <a:pos x="259" y="681"/>
                </a:cxn>
                <a:cxn ang="0">
                  <a:pos x="241" y="660"/>
                </a:cxn>
                <a:cxn ang="0">
                  <a:pos x="223" y="638"/>
                </a:cxn>
                <a:cxn ang="0">
                  <a:pos x="206" y="617"/>
                </a:cxn>
                <a:cxn ang="0">
                  <a:pos x="189" y="594"/>
                </a:cxn>
                <a:cxn ang="0">
                  <a:pos x="173" y="572"/>
                </a:cxn>
                <a:cxn ang="0">
                  <a:pos x="158" y="549"/>
                </a:cxn>
                <a:cxn ang="0">
                  <a:pos x="150" y="537"/>
                </a:cxn>
                <a:cxn ang="0">
                  <a:pos x="142" y="525"/>
                </a:cxn>
                <a:cxn ang="0">
                  <a:pos x="128" y="502"/>
                </a:cxn>
                <a:cxn ang="0">
                  <a:pos x="114" y="476"/>
                </a:cxn>
                <a:cxn ang="0">
                  <a:pos x="101" y="452"/>
                </a:cxn>
                <a:cxn ang="0">
                  <a:pos x="88" y="427"/>
                </a:cxn>
                <a:cxn ang="0">
                  <a:pos x="76" y="402"/>
                </a:cxn>
                <a:cxn ang="0">
                  <a:pos x="65" y="377"/>
                </a:cxn>
                <a:cxn ang="0">
                  <a:pos x="54" y="351"/>
                </a:cxn>
                <a:cxn ang="0">
                  <a:pos x="44" y="325"/>
                </a:cxn>
                <a:cxn ang="0">
                  <a:pos x="35" y="299"/>
                </a:cxn>
                <a:cxn ang="0">
                  <a:pos x="25" y="269"/>
                </a:cxn>
                <a:cxn ang="0">
                  <a:pos x="15" y="238"/>
                </a:cxn>
                <a:cxn ang="0">
                  <a:pos x="7" y="207"/>
                </a:cxn>
                <a:cxn ang="0">
                  <a:pos x="3" y="192"/>
                </a:cxn>
                <a:cxn ang="0">
                  <a:pos x="0" y="177"/>
                </a:cxn>
                <a:cxn ang="0">
                  <a:pos x="773" y="0"/>
                </a:cxn>
                <a:cxn ang="0">
                  <a:pos x="778" y="19"/>
                </a:cxn>
                <a:cxn ang="0">
                  <a:pos x="781" y="28"/>
                </a:cxn>
                <a:cxn ang="0">
                  <a:pos x="784" y="37"/>
                </a:cxn>
                <a:cxn ang="0">
                  <a:pos x="791" y="55"/>
                </a:cxn>
                <a:cxn ang="0">
                  <a:pos x="795" y="64"/>
                </a:cxn>
                <a:cxn ang="0">
                  <a:pos x="799" y="73"/>
                </a:cxn>
                <a:cxn ang="0">
                  <a:pos x="808" y="90"/>
                </a:cxn>
                <a:cxn ang="0">
                  <a:pos x="812" y="98"/>
                </a:cxn>
                <a:cxn ang="0">
                  <a:pos x="817" y="106"/>
                </a:cxn>
                <a:cxn ang="0">
                  <a:pos x="828" y="122"/>
                </a:cxn>
                <a:cxn ang="0">
                  <a:pos x="834" y="129"/>
                </a:cxn>
                <a:cxn ang="0">
                  <a:pos x="839" y="137"/>
                </a:cxn>
                <a:cxn ang="0">
                  <a:pos x="852" y="151"/>
                </a:cxn>
                <a:cxn ang="0">
                  <a:pos x="865" y="165"/>
                </a:cxn>
                <a:cxn ang="0">
                  <a:pos x="878" y="178"/>
                </a:cxn>
                <a:cxn ang="0">
                  <a:pos x="893" y="190"/>
                </a:cxn>
                <a:cxn ang="0">
                  <a:pos x="908" y="202"/>
                </a:cxn>
                <a:cxn ang="0">
                  <a:pos x="924" y="212"/>
                </a:cxn>
                <a:cxn ang="0">
                  <a:pos x="932" y="217"/>
                </a:cxn>
                <a:cxn ang="0">
                  <a:pos x="940" y="222"/>
                </a:cxn>
                <a:cxn ang="0">
                  <a:pos x="957" y="231"/>
                </a:cxn>
              </a:cxnLst>
              <a:rect l="0" t="0" r="r" b="b"/>
              <a:pathLst>
                <a:path w="957" h="947">
                  <a:moveTo>
                    <a:pt x="957" y="231"/>
                  </a:moveTo>
                  <a:lnTo>
                    <a:pt x="613" y="947"/>
                  </a:lnTo>
                  <a:lnTo>
                    <a:pt x="588" y="934"/>
                  </a:lnTo>
                  <a:lnTo>
                    <a:pt x="563" y="921"/>
                  </a:lnTo>
                  <a:lnTo>
                    <a:pt x="539" y="908"/>
                  </a:lnTo>
                  <a:lnTo>
                    <a:pt x="515" y="894"/>
                  </a:lnTo>
                  <a:lnTo>
                    <a:pt x="491" y="879"/>
                  </a:lnTo>
                  <a:lnTo>
                    <a:pt x="468" y="864"/>
                  </a:lnTo>
                  <a:lnTo>
                    <a:pt x="445" y="848"/>
                  </a:lnTo>
                  <a:lnTo>
                    <a:pt x="423" y="831"/>
                  </a:lnTo>
                  <a:lnTo>
                    <a:pt x="401" y="814"/>
                  </a:lnTo>
                  <a:lnTo>
                    <a:pt x="379" y="797"/>
                  </a:lnTo>
                  <a:lnTo>
                    <a:pt x="358" y="778"/>
                  </a:lnTo>
                  <a:lnTo>
                    <a:pt x="338" y="760"/>
                  </a:lnTo>
                  <a:lnTo>
                    <a:pt x="317" y="741"/>
                  </a:lnTo>
                  <a:lnTo>
                    <a:pt x="298" y="721"/>
                  </a:lnTo>
                  <a:lnTo>
                    <a:pt x="278" y="701"/>
                  </a:lnTo>
                  <a:lnTo>
                    <a:pt x="269" y="691"/>
                  </a:lnTo>
                  <a:lnTo>
                    <a:pt x="259" y="681"/>
                  </a:lnTo>
                  <a:lnTo>
                    <a:pt x="241" y="660"/>
                  </a:lnTo>
                  <a:lnTo>
                    <a:pt x="223" y="638"/>
                  </a:lnTo>
                  <a:lnTo>
                    <a:pt x="206" y="617"/>
                  </a:lnTo>
                  <a:lnTo>
                    <a:pt x="189" y="594"/>
                  </a:lnTo>
                  <a:lnTo>
                    <a:pt x="173" y="572"/>
                  </a:lnTo>
                  <a:lnTo>
                    <a:pt x="158" y="549"/>
                  </a:lnTo>
                  <a:lnTo>
                    <a:pt x="150" y="537"/>
                  </a:lnTo>
                  <a:lnTo>
                    <a:pt x="142" y="525"/>
                  </a:lnTo>
                  <a:lnTo>
                    <a:pt x="128" y="502"/>
                  </a:lnTo>
                  <a:lnTo>
                    <a:pt x="114" y="476"/>
                  </a:lnTo>
                  <a:lnTo>
                    <a:pt x="101" y="452"/>
                  </a:lnTo>
                  <a:lnTo>
                    <a:pt x="88" y="427"/>
                  </a:lnTo>
                  <a:lnTo>
                    <a:pt x="76" y="402"/>
                  </a:lnTo>
                  <a:lnTo>
                    <a:pt x="65" y="377"/>
                  </a:lnTo>
                  <a:lnTo>
                    <a:pt x="54" y="351"/>
                  </a:lnTo>
                  <a:lnTo>
                    <a:pt x="44" y="325"/>
                  </a:lnTo>
                  <a:lnTo>
                    <a:pt x="35" y="299"/>
                  </a:lnTo>
                  <a:lnTo>
                    <a:pt x="25" y="269"/>
                  </a:lnTo>
                  <a:lnTo>
                    <a:pt x="15" y="238"/>
                  </a:lnTo>
                  <a:lnTo>
                    <a:pt x="7" y="207"/>
                  </a:lnTo>
                  <a:lnTo>
                    <a:pt x="3" y="192"/>
                  </a:lnTo>
                  <a:lnTo>
                    <a:pt x="0" y="177"/>
                  </a:lnTo>
                  <a:lnTo>
                    <a:pt x="773" y="0"/>
                  </a:lnTo>
                  <a:lnTo>
                    <a:pt x="778" y="19"/>
                  </a:lnTo>
                  <a:lnTo>
                    <a:pt x="781" y="28"/>
                  </a:lnTo>
                  <a:lnTo>
                    <a:pt x="784" y="37"/>
                  </a:lnTo>
                  <a:lnTo>
                    <a:pt x="791" y="55"/>
                  </a:lnTo>
                  <a:lnTo>
                    <a:pt x="795" y="64"/>
                  </a:lnTo>
                  <a:lnTo>
                    <a:pt x="799" y="73"/>
                  </a:lnTo>
                  <a:lnTo>
                    <a:pt x="808" y="90"/>
                  </a:lnTo>
                  <a:lnTo>
                    <a:pt x="812" y="98"/>
                  </a:lnTo>
                  <a:lnTo>
                    <a:pt x="817" y="106"/>
                  </a:lnTo>
                  <a:lnTo>
                    <a:pt x="828" y="122"/>
                  </a:lnTo>
                  <a:lnTo>
                    <a:pt x="834" y="129"/>
                  </a:lnTo>
                  <a:lnTo>
                    <a:pt x="839" y="137"/>
                  </a:lnTo>
                  <a:lnTo>
                    <a:pt x="852" y="151"/>
                  </a:lnTo>
                  <a:lnTo>
                    <a:pt x="865" y="165"/>
                  </a:lnTo>
                  <a:lnTo>
                    <a:pt x="878" y="178"/>
                  </a:lnTo>
                  <a:lnTo>
                    <a:pt x="893" y="190"/>
                  </a:lnTo>
                  <a:lnTo>
                    <a:pt x="908" y="202"/>
                  </a:lnTo>
                  <a:lnTo>
                    <a:pt x="924" y="212"/>
                  </a:lnTo>
                  <a:lnTo>
                    <a:pt x="932" y="217"/>
                  </a:lnTo>
                  <a:lnTo>
                    <a:pt x="940" y="222"/>
                  </a:lnTo>
                  <a:lnTo>
                    <a:pt x="957" y="231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4" name="Freeform 150"/>
            <p:cNvSpPr>
              <a:spLocks noChangeAspect="1"/>
            </p:cNvSpPr>
            <p:nvPr/>
          </p:nvSpPr>
          <p:spPr bwMode="auto">
            <a:xfrm>
              <a:off x="3636963" y="4372000"/>
              <a:ext cx="711200" cy="788988"/>
            </a:xfrm>
            <a:custGeom>
              <a:avLst/>
              <a:gdLst/>
              <a:ahLst/>
              <a:cxnLst>
                <a:cxn ang="0">
                  <a:pos x="802" y="784"/>
                </a:cxn>
                <a:cxn ang="0">
                  <a:pos x="29" y="961"/>
                </a:cxn>
                <a:cxn ang="0">
                  <a:pos x="23" y="933"/>
                </a:cxn>
                <a:cxn ang="0">
                  <a:pos x="17" y="906"/>
                </a:cxn>
                <a:cxn ang="0">
                  <a:pos x="13" y="879"/>
                </a:cxn>
                <a:cxn ang="0">
                  <a:pos x="9" y="851"/>
                </a:cxn>
                <a:cxn ang="0">
                  <a:pos x="6" y="823"/>
                </a:cxn>
                <a:cxn ang="0">
                  <a:pos x="3" y="796"/>
                </a:cxn>
                <a:cxn ang="0">
                  <a:pos x="2" y="768"/>
                </a:cxn>
                <a:cxn ang="0">
                  <a:pos x="1" y="740"/>
                </a:cxn>
                <a:cxn ang="0">
                  <a:pos x="0" y="712"/>
                </a:cxn>
                <a:cxn ang="0">
                  <a:pos x="0" y="684"/>
                </a:cxn>
                <a:cxn ang="0">
                  <a:pos x="1" y="657"/>
                </a:cxn>
                <a:cxn ang="0">
                  <a:pos x="3" y="629"/>
                </a:cxn>
                <a:cxn ang="0">
                  <a:pos x="5" y="601"/>
                </a:cxn>
                <a:cxn ang="0">
                  <a:pos x="8" y="573"/>
                </a:cxn>
                <a:cxn ang="0">
                  <a:pos x="10" y="560"/>
                </a:cxn>
                <a:cxn ang="0">
                  <a:pos x="12" y="546"/>
                </a:cxn>
                <a:cxn ang="0">
                  <a:pos x="16" y="518"/>
                </a:cxn>
                <a:cxn ang="0">
                  <a:pos x="21" y="491"/>
                </a:cxn>
                <a:cxn ang="0">
                  <a:pos x="27" y="464"/>
                </a:cxn>
                <a:cxn ang="0">
                  <a:pos x="33" y="437"/>
                </a:cxn>
                <a:cxn ang="0">
                  <a:pos x="40" y="410"/>
                </a:cxn>
                <a:cxn ang="0">
                  <a:pos x="48" y="383"/>
                </a:cxn>
                <a:cxn ang="0">
                  <a:pos x="56" y="356"/>
                </a:cxn>
                <a:cxn ang="0">
                  <a:pos x="65" y="330"/>
                </a:cxn>
                <a:cxn ang="0">
                  <a:pos x="74" y="304"/>
                </a:cxn>
                <a:cxn ang="0">
                  <a:pos x="84" y="278"/>
                </a:cxn>
                <a:cxn ang="0">
                  <a:pos x="95" y="252"/>
                </a:cxn>
                <a:cxn ang="0">
                  <a:pos x="107" y="227"/>
                </a:cxn>
                <a:cxn ang="0">
                  <a:pos x="119" y="202"/>
                </a:cxn>
                <a:cxn ang="0">
                  <a:pos x="132" y="177"/>
                </a:cxn>
                <a:cxn ang="0">
                  <a:pos x="145" y="153"/>
                </a:cxn>
                <a:cxn ang="0">
                  <a:pos x="159" y="128"/>
                </a:cxn>
                <a:cxn ang="0">
                  <a:pos x="174" y="104"/>
                </a:cxn>
                <a:cxn ang="0">
                  <a:pos x="191" y="77"/>
                </a:cxn>
                <a:cxn ang="0">
                  <a:pos x="209" y="51"/>
                </a:cxn>
                <a:cxn ang="0">
                  <a:pos x="228" y="25"/>
                </a:cxn>
                <a:cxn ang="0">
                  <a:pos x="247" y="0"/>
                </a:cxn>
                <a:cxn ang="0">
                  <a:pos x="868" y="496"/>
                </a:cxn>
                <a:cxn ang="0">
                  <a:pos x="859" y="507"/>
                </a:cxn>
                <a:cxn ang="0">
                  <a:pos x="851" y="519"/>
                </a:cxn>
                <a:cxn ang="0">
                  <a:pos x="844" y="531"/>
                </a:cxn>
                <a:cxn ang="0">
                  <a:pos x="837" y="543"/>
                </a:cxn>
                <a:cxn ang="0">
                  <a:pos x="830" y="555"/>
                </a:cxn>
                <a:cxn ang="0">
                  <a:pos x="824" y="568"/>
                </a:cxn>
                <a:cxn ang="0">
                  <a:pos x="819" y="581"/>
                </a:cxn>
                <a:cxn ang="0">
                  <a:pos x="813" y="594"/>
                </a:cxn>
                <a:cxn ang="0">
                  <a:pos x="809" y="608"/>
                </a:cxn>
                <a:cxn ang="0">
                  <a:pos x="805" y="621"/>
                </a:cxn>
                <a:cxn ang="0">
                  <a:pos x="802" y="635"/>
                </a:cxn>
                <a:cxn ang="0">
                  <a:pos x="799" y="649"/>
                </a:cxn>
                <a:cxn ang="0">
                  <a:pos x="797" y="664"/>
                </a:cxn>
                <a:cxn ang="0">
                  <a:pos x="795" y="679"/>
                </a:cxn>
                <a:cxn ang="0">
                  <a:pos x="794" y="693"/>
                </a:cxn>
                <a:cxn ang="0">
                  <a:pos x="794" y="708"/>
                </a:cxn>
                <a:cxn ang="0">
                  <a:pos x="794" y="728"/>
                </a:cxn>
                <a:cxn ang="0">
                  <a:pos x="795" y="737"/>
                </a:cxn>
                <a:cxn ang="0">
                  <a:pos x="796" y="747"/>
                </a:cxn>
                <a:cxn ang="0">
                  <a:pos x="797" y="756"/>
                </a:cxn>
                <a:cxn ang="0">
                  <a:pos x="799" y="765"/>
                </a:cxn>
                <a:cxn ang="0">
                  <a:pos x="802" y="784"/>
                </a:cxn>
              </a:cxnLst>
              <a:rect l="0" t="0" r="r" b="b"/>
              <a:pathLst>
                <a:path w="868" h="961">
                  <a:moveTo>
                    <a:pt x="802" y="784"/>
                  </a:moveTo>
                  <a:lnTo>
                    <a:pt x="29" y="961"/>
                  </a:lnTo>
                  <a:lnTo>
                    <a:pt x="23" y="933"/>
                  </a:lnTo>
                  <a:lnTo>
                    <a:pt x="17" y="906"/>
                  </a:lnTo>
                  <a:lnTo>
                    <a:pt x="13" y="879"/>
                  </a:lnTo>
                  <a:lnTo>
                    <a:pt x="9" y="851"/>
                  </a:lnTo>
                  <a:lnTo>
                    <a:pt x="6" y="823"/>
                  </a:lnTo>
                  <a:lnTo>
                    <a:pt x="3" y="796"/>
                  </a:lnTo>
                  <a:lnTo>
                    <a:pt x="2" y="768"/>
                  </a:lnTo>
                  <a:lnTo>
                    <a:pt x="1" y="740"/>
                  </a:lnTo>
                  <a:lnTo>
                    <a:pt x="0" y="712"/>
                  </a:lnTo>
                  <a:lnTo>
                    <a:pt x="0" y="684"/>
                  </a:lnTo>
                  <a:lnTo>
                    <a:pt x="1" y="657"/>
                  </a:lnTo>
                  <a:lnTo>
                    <a:pt x="3" y="629"/>
                  </a:lnTo>
                  <a:lnTo>
                    <a:pt x="5" y="601"/>
                  </a:lnTo>
                  <a:lnTo>
                    <a:pt x="8" y="573"/>
                  </a:lnTo>
                  <a:lnTo>
                    <a:pt x="10" y="560"/>
                  </a:lnTo>
                  <a:lnTo>
                    <a:pt x="12" y="546"/>
                  </a:lnTo>
                  <a:lnTo>
                    <a:pt x="16" y="518"/>
                  </a:lnTo>
                  <a:lnTo>
                    <a:pt x="21" y="491"/>
                  </a:lnTo>
                  <a:lnTo>
                    <a:pt x="27" y="464"/>
                  </a:lnTo>
                  <a:lnTo>
                    <a:pt x="33" y="437"/>
                  </a:lnTo>
                  <a:lnTo>
                    <a:pt x="40" y="410"/>
                  </a:lnTo>
                  <a:lnTo>
                    <a:pt x="48" y="383"/>
                  </a:lnTo>
                  <a:lnTo>
                    <a:pt x="56" y="356"/>
                  </a:lnTo>
                  <a:lnTo>
                    <a:pt x="65" y="330"/>
                  </a:lnTo>
                  <a:lnTo>
                    <a:pt x="74" y="304"/>
                  </a:lnTo>
                  <a:lnTo>
                    <a:pt x="84" y="278"/>
                  </a:lnTo>
                  <a:lnTo>
                    <a:pt x="95" y="252"/>
                  </a:lnTo>
                  <a:lnTo>
                    <a:pt x="107" y="227"/>
                  </a:lnTo>
                  <a:lnTo>
                    <a:pt x="119" y="202"/>
                  </a:lnTo>
                  <a:lnTo>
                    <a:pt x="132" y="177"/>
                  </a:lnTo>
                  <a:lnTo>
                    <a:pt x="145" y="153"/>
                  </a:lnTo>
                  <a:lnTo>
                    <a:pt x="159" y="128"/>
                  </a:lnTo>
                  <a:lnTo>
                    <a:pt x="174" y="104"/>
                  </a:lnTo>
                  <a:lnTo>
                    <a:pt x="191" y="77"/>
                  </a:lnTo>
                  <a:lnTo>
                    <a:pt x="209" y="51"/>
                  </a:lnTo>
                  <a:lnTo>
                    <a:pt x="228" y="25"/>
                  </a:lnTo>
                  <a:lnTo>
                    <a:pt x="247" y="0"/>
                  </a:lnTo>
                  <a:lnTo>
                    <a:pt x="868" y="496"/>
                  </a:lnTo>
                  <a:lnTo>
                    <a:pt x="859" y="507"/>
                  </a:lnTo>
                  <a:lnTo>
                    <a:pt x="851" y="519"/>
                  </a:lnTo>
                  <a:lnTo>
                    <a:pt x="844" y="531"/>
                  </a:lnTo>
                  <a:lnTo>
                    <a:pt x="837" y="543"/>
                  </a:lnTo>
                  <a:lnTo>
                    <a:pt x="830" y="555"/>
                  </a:lnTo>
                  <a:lnTo>
                    <a:pt x="824" y="568"/>
                  </a:lnTo>
                  <a:lnTo>
                    <a:pt x="819" y="581"/>
                  </a:lnTo>
                  <a:lnTo>
                    <a:pt x="813" y="594"/>
                  </a:lnTo>
                  <a:lnTo>
                    <a:pt x="809" y="608"/>
                  </a:lnTo>
                  <a:lnTo>
                    <a:pt x="805" y="621"/>
                  </a:lnTo>
                  <a:lnTo>
                    <a:pt x="802" y="635"/>
                  </a:lnTo>
                  <a:lnTo>
                    <a:pt x="799" y="649"/>
                  </a:lnTo>
                  <a:lnTo>
                    <a:pt x="797" y="664"/>
                  </a:lnTo>
                  <a:lnTo>
                    <a:pt x="795" y="679"/>
                  </a:lnTo>
                  <a:lnTo>
                    <a:pt x="794" y="693"/>
                  </a:lnTo>
                  <a:lnTo>
                    <a:pt x="794" y="708"/>
                  </a:lnTo>
                  <a:lnTo>
                    <a:pt x="794" y="728"/>
                  </a:lnTo>
                  <a:lnTo>
                    <a:pt x="795" y="737"/>
                  </a:lnTo>
                  <a:lnTo>
                    <a:pt x="796" y="747"/>
                  </a:lnTo>
                  <a:lnTo>
                    <a:pt x="797" y="756"/>
                  </a:lnTo>
                  <a:lnTo>
                    <a:pt x="799" y="765"/>
                  </a:lnTo>
                  <a:lnTo>
                    <a:pt x="802" y="7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5" name="Freeform 151"/>
            <p:cNvSpPr>
              <a:spLocks noChangeAspect="1"/>
            </p:cNvSpPr>
            <p:nvPr/>
          </p:nvSpPr>
          <p:spPr bwMode="auto">
            <a:xfrm>
              <a:off x="3840163" y="4022750"/>
              <a:ext cx="727075" cy="757238"/>
            </a:xfrm>
            <a:custGeom>
              <a:avLst/>
              <a:gdLst/>
              <a:ahLst/>
              <a:cxnLst>
                <a:cxn ang="0">
                  <a:pos x="888" y="0"/>
                </a:cxn>
                <a:cxn ang="0">
                  <a:pos x="888" y="795"/>
                </a:cxn>
                <a:cxn ang="0">
                  <a:pos x="867" y="796"/>
                </a:cxn>
                <a:cxn ang="0">
                  <a:pos x="847" y="797"/>
                </a:cxn>
                <a:cxn ang="0">
                  <a:pos x="828" y="800"/>
                </a:cxn>
                <a:cxn ang="0">
                  <a:pos x="809" y="804"/>
                </a:cxn>
                <a:cxn ang="0">
                  <a:pos x="790" y="809"/>
                </a:cxn>
                <a:cxn ang="0">
                  <a:pos x="781" y="812"/>
                </a:cxn>
                <a:cxn ang="0">
                  <a:pos x="772" y="815"/>
                </a:cxn>
                <a:cxn ang="0">
                  <a:pos x="754" y="822"/>
                </a:cxn>
                <a:cxn ang="0">
                  <a:pos x="745" y="826"/>
                </a:cxn>
                <a:cxn ang="0">
                  <a:pos x="737" y="830"/>
                </a:cxn>
                <a:cxn ang="0">
                  <a:pos x="720" y="839"/>
                </a:cxn>
                <a:cxn ang="0">
                  <a:pos x="712" y="843"/>
                </a:cxn>
                <a:cxn ang="0">
                  <a:pos x="704" y="848"/>
                </a:cxn>
                <a:cxn ang="0">
                  <a:pos x="689" y="859"/>
                </a:cxn>
                <a:cxn ang="0">
                  <a:pos x="674" y="870"/>
                </a:cxn>
                <a:cxn ang="0">
                  <a:pos x="659" y="882"/>
                </a:cxn>
                <a:cxn ang="0">
                  <a:pos x="653" y="889"/>
                </a:cxn>
                <a:cxn ang="0">
                  <a:pos x="646" y="895"/>
                </a:cxn>
                <a:cxn ang="0">
                  <a:pos x="633" y="909"/>
                </a:cxn>
                <a:cxn ang="0">
                  <a:pos x="621" y="923"/>
                </a:cxn>
                <a:cxn ang="0">
                  <a:pos x="0" y="427"/>
                </a:cxn>
                <a:cxn ang="0">
                  <a:pos x="18" y="406"/>
                </a:cxn>
                <a:cxn ang="0">
                  <a:pos x="36" y="385"/>
                </a:cxn>
                <a:cxn ang="0">
                  <a:pos x="55" y="364"/>
                </a:cxn>
                <a:cxn ang="0">
                  <a:pos x="74" y="344"/>
                </a:cxn>
                <a:cxn ang="0">
                  <a:pos x="94" y="324"/>
                </a:cxn>
                <a:cxn ang="0">
                  <a:pos x="104" y="314"/>
                </a:cxn>
                <a:cxn ang="0">
                  <a:pos x="114" y="305"/>
                </a:cxn>
                <a:cxn ang="0">
                  <a:pos x="134" y="286"/>
                </a:cxn>
                <a:cxn ang="0">
                  <a:pos x="155" y="268"/>
                </a:cxn>
                <a:cxn ang="0">
                  <a:pos x="177" y="250"/>
                </a:cxn>
                <a:cxn ang="0">
                  <a:pos x="199" y="233"/>
                </a:cxn>
                <a:cxn ang="0">
                  <a:pos x="221" y="217"/>
                </a:cxn>
                <a:cxn ang="0">
                  <a:pos x="244" y="200"/>
                </a:cxn>
                <a:cxn ang="0">
                  <a:pos x="267" y="185"/>
                </a:cxn>
                <a:cxn ang="0">
                  <a:pos x="290" y="170"/>
                </a:cxn>
                <a:cxn ang="0">
                  <a:pos x="314" y="156"/>
                </a:cxn>
                <a:cxn ang="0">
                  <a:pos x="338" y="142"/>
                </a:cxn>
                <a:cxn ang="0">
                  <a:pos x="363" y="129"/>
                </a:cxn>
                <a:cxn ang="0">
                  <a:pos x="388" y="116"/>
                </a:cxn>
                <a:cxn ang="0">
                  <a:pos x="413" y="104"/>
                </a:cxn>
                <a:cxn ang="0">
                  <a:pos x="438" y="93"/>
                </a:cxn>
                <a:cxn ang="0">
                  <a:pos x="464" y="82"/>
                </a:cxn>
                <a:cxn ang="0">
                  <a:pos x="490" y="72"/>
                </a:cxn>
                <a:cxn ang="0">
                  <a:pos x="516" y="62"/>
                </a:cxn>
                <a:cxn ang="0">
                  <a:pos x="542" y="54"/>
                </a:cxn>
                <a:cxn ang="0">
                  <a:pos x="569" y="45"/>
                </a:cxn>
                <a:cxn ang="0">
                  <a:pos x="596" y="38"/>
                </a:cxn>
                <a:cxn ang="0">
                  <a:pos x="623" y="31"/>
                </a:cxn>
                <a:cxn ang="0">
                  <a:pos x="650" y="25"/>
                </a:cxn>
                <a:cxn ang="0">
                  <a:pos x="677" y="20"/>
                </a:cxn>
                <a:cxn ang="0">
                  <a:pos x="705" y="15"/>
                </a:cxn>
                <a:cxn ang="0">
                  <a:pos x="732" y="11"/>
                </a:cxn>
                <a:cxn ang="0">
                  <a:pos x="760" y="8"/>
                </a:cxn>
                <a:cxn ang="0">
                  <a:pos x="776" y="6"/>
                </a:cxn>
                <a:cxn ang="0">
                  <a:pos x="791" y="4"/>
                </a:cxn>
                <a:cxn ang="0">
                  <a:pos x="823" y="2"/>
                </a:cxn>
                <a:cxn ang="0">
                  <a:pos x="855" y="1"/>
                </a:cxn>
                <a:cxn ang="0">
                  <a:pos x="888" y="0"/>
                </a:cxn>
              </a:cxnLst>
              <a:rect l="0" t="0" r="r" b="b"/>
              <a:pathLst>
                <a:path w="888" h="923">
                  <a:moveTo>
                    <a:pt x="888" y="0"/>
                  </a:moveTo>
                  <a:lnTo>
                    <a:pt x="888" y="795"/>
                  </a:lnTo>
                  <a:lnTo>
                    <a:pt x="867" y="796"/>
                  </a:lnTo>
                  <a:lnTo>
                    <a:pt x="847" y="797"/>
                  </a:lnTo>
                  <a:lnTo>
                    <a:pt x="828" y="800"/>
                  </a:lnTo>
                  <a:lnTo>
                    <a:pt x="809" y="804"/>
                  </a:lnTo>
                  <a:lnTo>
                    <a:pt x="790" y="809"/>
                  </a:lnTo>
                  <a:lnTo>
                    <a:pt x="781" y="812"/>
                  </a:lnTo>
                  <a:lnTo>
                    <a:pt x="772" y="815"/>
                  </a:lnTo>
                  <a:lnTo>
                    <a:pt x="754" y="822"/>
                  </a:lnTo>
                  <a:lnTo>
                    <a:pt x="745" y="826"/>
                  </a:lnTo>
                  <a:lnTo>
                    <a:pt x="737" y="830"/>
                  </a:lnTo>
                  <a:lnTo>
                    <a:pt x="720" y="839"/>
                  </a:lnTo>
                  <a:lnTo>
                    <a:pt x="712" y="843"/>
                  </a:lnTo>
                  <a:lnTo>
                    <a:pt x="704" y="848"/>
                  </a:lnTo>
                  <a:lnTo>
                    <a:pt x="689" y="859"/>
                  </a:lnTo>
                  <a:lnTo>
                    <a:pt x="674" y="870"/>
                  </a:lnTo>
                  <a:lnTo>
                    <a:pt x="659" y="882"/>
                  </a:lnTo>
                  <a:lnTo>
                    <a:pt x="653" y="889"/>
                  </a:lnTo>
                  <a:lnTo>
                    <a:pt x="646" y="895"/>
                  </a:lnTo>
                  <a:lnTo>
                    <a:pt x="633" y="909"/>
                  </a:lnTo>
                  <a:lnTo>
                    <a:pt x="621" y="923"/>
                  </a:lnTo>
                  <a:lnTo>
                    <a:pt x="0" y="427"/>
                  </a:lnTo>
                  <a:lnTo>
                    <a:pt x="18" y="406"/>
                  </a:lnTo>
                  <a:lnTo>
                    <a:pt x="36" y="385"/>
                  </a:lnTo>
                  <a:lnTo>
                    <a:pt x="55" y="364"/>
                  </a:lnTo>
                  <a:lnTo>
                    <a:pt x="74" y="344"/>
                  </a:lnTo>
                  <a:lnTo>
                    <a:pt x="94" y="324"/>
                  </a:lnTo>
                  <a:lnTo>
                    <a:pt x="104" y="314"/>
                  </a:lnTo>
                  <a:lnTo>
                    <a:pt x="114" y="305"/>
                  </a:lnTo>
                  <a:lnTo>
                    <a:pt x="134" y="286"/>
                  </a:lnTo>
                  <a:lnTo>
                    <a:pt x="155" y="268"/>
                  </a:lnTo>
                  <a:lnTo>
                    <a:pt x="177" y="250"/>
                  </a:lnTo>
                  <a:lnTo>
                    <a:pt x="199" y="233"/>
                  </a:lnTo>
                  <a:lnTo>
                    <a:pt x="221" y="217"/>
                  </a:lnTo>
                  <a:lnTo>
                    <a:pt x="244" y="200"/>
                  </a:lnTo>
                  <a:lnTo>
                    <a:pt x="267" y="185"/>
                  </a:lnTo>
                  <a:lnTo>
                    <a:pt x="290" y="170"/>
                  </a:lnTo>
                  <a:lnTo>
                    <a:pt x="314" y="156"/>
                  </a:lnTo>
                  <a:lnTo>
                    <a:pt x="338" y="142"/>
                  </a:lnTo>
                  <a:lnTo>
                    <a:pt x="363" y="129"/>
                  </a:lnTo>
                  <a:lnTo>
                    <a:pt x="388" y="116"/>
                  </a:lnTo>
                  <a:lnTo>
                    <a:pt x="413" y="104"/>
                  </a:lnTo>
                  <a:lnTo>
                    <a:pt x="438" y="93"/>
                  </a:lnTo>
                  <a:lnTo>
                    <a:pt x="464" y="82"/>
                  </a:lnTo>
                  <a:lnTo>
                    <a:pt x="490" y="72"/>
                  </a:lnTo>
                  <a:lnTo>
                    <a:pt x="516" y="62"/>
                  </a:lnTo>
                  <a:lnTo>
                    <a:pt x="542" y="54"/>
                  </a:lnTo>
                  <a:lnTo>
                    <a:pt x="569" y="45"/>
                  </a:lnTo>
                  <a:lnTo>
                    <a:pt x="596" y="38"/>
                  </a:lnTo>
                  <a:lnTo>
                    <a:pt x="623" y="31"/>
                  </a:lnTo>
                  <a:lnTo>
                    <a:pt x="650" y="25"/>
                  </a:lnTo>
                  <a:lnTo>
                    <a:pt x="677" y="20"/>
                  </a:lnTo>
                  <a:lnTo>
                    <a:pt x="705" y="15"/>
                  </a:lnTo>
                  <a:lnTo>
                    <a:pt x="732" y="11"/>
                  </a:lnTo>
                  <a:lnTo>
                    <a:pt x="760" y="8"/>
                  </a:lnTo>
                  <a:lnTo>
                    <a:pt x="776" y="6"/>
                  </a:lnTo>
                  <a:lnTo>
                    <a:pt x="791" y="4"/>
                  </a:lnTo>
                  <a:lnTo>
                    <a:pt x="823" y="2"/>
                  </a:lnTo>
                  <a:lnTo>
                    <a:pt x="855" y="1"/>
                  </a:lnTo>
                  <a:lnTo>
                    <a:pt x="88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endParaRPr lang="en-US"/>
            </a:p>
          </p:txBody>
        </p:sp>
        <p:sp>
          <p:nvSpPr>
            <p:cNvPr id="37016" name="Text Box 152"/>
            <p:cNvSpPr txBox="1">
              <a:spLocks noChangeArrowheads="1"/>
            </p:cNvSpPr>
            <p:nvPr/>
          </p:nvSpPr>
          <p:spPr bwMode="auto">
            <a:xfrm>
              <a:off x="3998913" y="427357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17" name="Text Box 153"/>
            <p:cNvSpPr txBox="1">
              <a:spLocks noChangeArrowheads="1"/>
            </p:cNvSpPr>
            <p:nvPr/>
          </p:nvSpPr>
          <p:spPr bwMode="auto">
            <a:xfrm>
              <a:off x="4724401" y="427357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18" name="Text Box 154"/>
            <p:cNvSpPr txBox="1">
              <a:spLocks noChangeArrowheads="1"/>
            </p:cNvSpPr>
            <p:nvPr/>
          </p:nvSpPr>
          <p:spPr bwMode="auto">
            <a:xfrm>
              <a:off x="4937126" y="463870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19" name="Text Box 155"/>
            <p:cNvSpPr txBox="1">
              <a:spLocks noChangeArrowheads="1"/>
            </p:cNvSpPr>
            <p:nvPr/>
          </p:nvSpPr>
          <p:spPr bwMode="auto">
            <a:xfrm>
              <a:off x="4875213" y="527528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20" name="Text Box 156"/>
            <p:cNvSpPr txBox="1">
              <a:spLocks noChangeArrowheads="1"/>
            </p:cNvSpPr>
            <p:nvPr/>
          </p:nvSpPr>
          <p:spPr bwMode="auto">
            <a:xfrm>
              <a:off x="4360863" y="5416575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21" name="Text Box 157"/>
            <p:cNvSpPr txBox="1">
              <a:spLocks noChangeArrowheads="1"/>
            </p:cNvSpPr>
            <p:nvPr/>
          </p:nvSpPr>
          <p:spPr bwMode="auto">
            <a:xfrm>
              <a:off x="3848101" y="5275288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37022" name="Text Box 158"/>
            <p:cNvSpPr txBox="1">
              <a:spLocks noChangeArrowheads="1"/>
            </p:cNvSpPr>
            <p:nvPr/>
          </p:nvSpPr>
          <p:spPr bwMode="auto">
            <a:xfrm>
              <a:off x="3787776" y="4638700"/>
              <a:ext cx="411163" cy="255588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eaLnBrk="0" hangingPunct="0"/>
              <a:r>
                <a:rPr lang="en-US" sz="12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83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ircular Segments 2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4426377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755884" y="478026"/>
            <a:ext cx="2340104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 smtClean="0">
                <a:solidFill>
                  <a:srgbClr val="FF952E"/>
                </a:solidFill>
              </a:rPr>
              <a:t>BAR CHARTS</a:t>
            </a:r>
            <a:endParaRPr lang="en-US" sz="3200" b="1" dirty="0">
              <a:solidFill>
                <a:srgbClr val="FF952E"/>
              </a:solidFill>
            </a:endParaRPr>
          </a:p>
        </p:txBody>
      </p:sp>
      <p:pic>
        <p:nvPicPr>
          <p:cNvPr id="5" name="Picture 4" descr="Screen Shot 2016-09-14 at 7.00.43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10" y="1439006"/>
            <a:ext cx="3043815" cy="21043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715" y="1439006"/>
            <a:ext cx="3033620" cy="210436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322" y="1439006"/>
            <a:ext cx="3027625" cy="210436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40" y="3628890"/>
            <a:ext cx="3041954" cy="210436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793" y="3628890"/>
            <a:ext cx="3035464" cy="210436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227" y="3630331"/>
            <a:ext cx="3043815" cy="210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568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667046" y="478026"/>
            <a:ext cx="4517783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>
                <a:solidFill>
                  <a:srgbClr val="FF952E"/>
                </a:solidFill>
              </a:rPr>
              <a:t>LINE AND OTHER CHAR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67" y="1441086"/>
            <a:ext cx="3040101" cy="21002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715" y="1441888"/>
            <a:ext cx="3033620" cy="2098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245" y="1443963"/>
            <a:ext cx="3025779" cy="2094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23" y="3632412"/>
            <a:ext cx="3037787" cy="209732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793" y="3633214"/>
            <a:ext cx="3035464" cy="20957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60" y="3630331"/>
            <a:ext cx="3029948" cy="210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8107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6942795"/>
              </p:ext>
            </p:extLst>
          </p:nvPr>
        </p:nvGraphicFramePr>
        <p:xfrm>
          <a:off x="507339" y="1495276"/>
          <a:ext cx="8151073" cy="351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8293" name="AcnFootnote_ID_26829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6506" y="5509294"/>
            <a:ext cx="8871094" cy="8720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/rows as required (each line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Double-click on a line to change the color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Edit the y-axis label manually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4	Edit the labels manually</a:t>
            </a:r>
          </a:p>
        </p:txBody>
      </p:sp>
      <p:sp>
        <p:nvSpPr>
          <p:cNvPr id="268294" name="Rectangle 6"/>
          <p:cNvSpPr>
            <a:spLocks noChangeArrowheads="1"/>
          </p:cNvSpPr>
          <p:nvPr/>
        </p:nvSpPr>
        <p:spPr bwMode="auto">
          <a:xfrm>
            <a:off x="8541398" y="2109408"/>
            <a:ext cx="963034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A</a:t>
            </a:r>
          </a:p>
        </p:txBody>
      </p:sp>
      <p:sp>
        <p:nvSpPr>
          <p:cNvPr id="268295" name="Rectangle 7"/>
          <p:cNvSpPr>
            <a:spLocks noChangeArrowheads="1"/>
          </p:cNvSpPr>
          <p:nvPr/>
        </p:nvSpPr>
        <p:spPr bwMode="auto">
          <a:xfrm>
            <a:off x="8541398" y="2638575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/>
              <a:t>Label B</a:t>
            </a:r>
          </a:p>
        </p:txBody>
      </p:sp>
      <p:sp>
        <p:nvSpPr>
          <p:cNvPr id="268296" name="Rectangle 8"/>
          <p:cNvSpPr>
            <a:spLocks noChangeArrowheads="1"/>
          </p:cNvSpPr>
          <p:nvPr/>
        </p:nvSpPr>
        <p:spPr bwMode="auto">
          <a:xfrm>
            <a:off x="8541398" y="1844825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C</a:t>
            </a:r>
          </a:p>
        </p:txBody>
      </p:sp>
      <p:sp>
        <p:nvSpPr>
          <p:cNvPr id="268297" name="Rectangle 9"/>
          <p:cNvSpPr>
            <a:spLocks noChangeArrowheads="1"/>
          </p:cNvSpPr>
          <p:nvPr/>
        </p:nvSpPr>
        <p:spPr bwMode="auto">
          <a:xfrm>
            <a:off x="8541398" y="2373992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D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Line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15659576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8" name="AcnFootnote_ID_26931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5283" y="5509716"/>
            <a:ext cx="9216364" cy="8720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44000" indent="-180975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80975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/rows as required (each line will adopt a different color)</a:t>
            </a:r>
          </a:p>
          <a:p>
            <a:pPr marL="144000" indent="-180975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Double-click on a line to change the color</a:t>
            </a:r>
          </a:p>
          <a:p>
            <a:pPr marL="144000" indent="-180975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Edit the y-axis label manually</a:t>
            </a:r>
          </a:p>
          <a:p>
            <a:pPr marL="144000" indent="-180975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4	Edit the labels manually</a:t>
            </a:r>
          </a:p>
        </p:txBody>
      </p:sp>
      <p:graphicFrame>
        <p:nvGraphicFramePr>
          <p:cNvPr id="13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2164585"/>
              </p:ext>
            </p:extLst>
          </p:nvPr>
        </p:nvGraphicFramePr>
        <p:xfrm>
          <a:off x="507339" y="1495276"/>
          <a:ext cx="8334867" cy="351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8631482" y="2384789"/>
            <a:ext cx="963034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A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8631482" y="2913956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B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8631482" y="2120206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C</a:t>
            </a: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8631482" y="2649373"/>
            <a:ext cx="963034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/>
              <a:t>Label D</a:t>
            </a: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Smooth Line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6806833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8303443"/>
              </p:ext>
            </p:extLst>
          </p:nvPr>
        </p:nvGraphicFramePr>
        <p:xfrm>
          <a:off x="1910662" y="1196752"/>
          <a:ext cx="7059784" cy="4194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3413" name="AcnFootnote_ID_2734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5165" y="5868368"/>
            <a:ext cx="9216364" cy="5129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Insert columns/rows as required (each area will adopt a different color)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Double-click on an area to change the color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Radar Chart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121089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728837" y="478026"/>
            <a:ext cx="2394205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 smtClean="0">
                <a:solidFill>
                  <a:srgbClr val="FF952E"/>
                </a:solidFill>
              </a:rPr>
              <a:t>STRUCTURES</a:t>
            </a:r>
            <a:endParaRPr lang="en-US" sz="3200" b="1" dirty="0">
              <a:solidFill>
                <a:srgbClr val="FF952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96" y="1441086"/>
            <a:ext cx="3038242" cy="21002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715" y="1443323"/>
            <a:ext cx="3033620" cy="209572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315" y="1443963"/>
            <a:ext cx="3021640" cy="2094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32" y="3632412"/>
            <a:ext cx="3031770" cy="209732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792" y="3633214"/>
            <a:ext cx="3023465" cy="20957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60" y="3630967"/>
            <a:ext cx="3029948" cy="210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5507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4"/>
          <p:cNvSpPr>
            <a:spLocks noChangeArrowheads="1"/>
          </p:cNvSpPr>
          <p:nvPr/>
        </p:nvSpPr>
        <p:spPr bwMode="auto">
          <a:xfrm>
            <a:off x="2639881" y="2138412"/>
            <a:ext cx="1129903" cy="546100"/>
          </a:xfrm>
          <a:prstGeom prst="rect">
            <a:avLst/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6085" name="Rectangle 5"/>
          <p:cNvSpPr>
            <a:spLocks noChangeArrowheads="1"/>
          </p:cNvSpPr>
          <p:nvPr/>
        </p:nvSpPr>
        <p:spPr bwMode="auto">
          <a:xfrm>
            <a:off x="2639881" y="4483150"/>
            <a:ext cx="1129903" cy="546100"/>
          </a:xfrm>
          <a:prstGeom prst="rect">
            <a:avLst/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6086" name="Rectangle 6"/>
          <p:cNvSpPr>
            <a:spLocks noChangeArrowheads="1"/>
          </p:cNvSpPr>
          <p:nvPr/>
        </p:nvSpPr>
        <p:spPr bwMode="auto">
          <a:xfrm>
            <a:off x="507340" y="3311576"/>
            <a:ext cx="1131623" cy="544513"/>
          </a:xfrm>
          <a:prstGeom prst="rect">
            <a:avLst/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cxnSp>
        <p:nvCxnSpPr>
          <p:cNvPr id="46087" name="AutoShape 7"/>
          <p:cNvCxnSpPr>
            <a:cxnSpLocks noChangeShapeType="1"/>
            <a:stCxn id="46086" idx="3"/>
            <a:endCxn id="46085" idx="1"/>
          </p:cNvCxnSpPr>
          <p:nvPr/>
        </p:nvCxnSpPr>
        <p:spPr bwMode="auto">
          <a:xfrm>
            <a:off x="1638962" y="3583832"/>
            <a:ext cx="1000919" cy="1172368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088" name="AutoShape 8"/>
          <p:cNvCxnSpPr>
            <a:cxnSpLocks noChangeShapeType="1"/>
            <a:stCxn id="46086" idx="3"/>
            <a:endCxn id="46084" idx="1"/>
          </p:cNvCxnSpPr>
          <p:nvPr/>
        </p:nvCxnSpPr>
        <p:spPr bwMode="auto">
          <a:xfrm flipV="1">
            <a:off x="1638962" y="2411462"/>
            <a:ext cx="1000919" cy="1172370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089" name="AutoShape 9"/>
          <p:cNvCxnSpPr>
            <a:cxnSpLocks noChangeShapeType="1"/>
            <a:stCxn id="46084" idx="3"/>
            <a:endCxn id="46103" idx="1"/>
          </p:cNvCxnSpPr>
          <p:nvPr/>
        </p:nvCxnSpPr>
        <p:spPr bwMode="auto">
          <a:xfrm flipV="1">
            <a:off x="3769784" y="1826866"/>
            <a:ext cx="1126464" cy="584596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090" name="AutoShape 10"/>
          <p:cNvCxnSpPr>
            <a:cxnSpLocks noChangeShapeType="1"/>
            <a:stCxn id="46084" idx="3"/>
            <a:endCxn id="46104" idx="1"/>
          </p:cNvCxnSpPr>
          <p:nvPr/>
        </p:nvCxnSpPr>
        <p:spPr bwMode="auto">
          <a:xfrm>
            <a:off x="3769784" y="2411463"/>
            <a:ext cx="1126464" cy="58459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6091" name="Rectangle 11"/>
          <p:cNvSpPr>
            <a:spLocks noChangeArrowheads="1"/>
          </p:cNvSpPr>
          <p:nvPr/>
        </p:nvSpPr>
        <p:spPr bwMode="auto">
          <a:xfrm>
            <a:off x="7411415" y="1293465"/>
            <a:ext cx="1988079" cy="287338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2" name="Rectangle 12"/>
          <p:cNvSpPr>
            <a:spLocks noChangeArrowheads="1"/>
          </p:cNvSpPr>
          <p:nvPr/>
        </p:nvSpPr>
        <p:spPr bwMode="auto">
          <a:xfrm>
            <a:off x="7411415" y="1680816"/>
            <a:ext cx="1988079" cy="290513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3" name="Rectangle 13"/>
          <p:cNvSpPr>
            <a:spLocks noChangeArrowheads="1"/>
          </p:cNvSpPr>
          <p:nvPr/>
        </p:nvSpPr>
        <p:spPr bwMode="auto">
          <a:xfrm>
            <a:off x="7411415" y="2072928"/>
            <a:ext cx="1988079" cy="290512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4" name="Rectangle 14"/>
          <p:cNvSpPr>
            <a:spLocks noChangeArrowheads="1"/>
          </p:cNvSpPr>
          <p:nvPr/>
        </p:nvSpPr>
        <p:spPr bwMode="auto">
          <a:xfrm>
            <a:off x="7411415" y="2463454"/>
            <a:ext cx="1988079" cy="287337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5" name="Rectangle 15"/>
          <p:cNvSpPr>
            <a:spLocks noChangeArrowheads="1"/>
          </p:cNvSpPr>
          <p:nvPr/>
        </p:nvSpPr>
        <p:spPr bwMode="auto">
          <a:xfrm>
            <a:off x="7411415" y="2853979"/>
            <a:ext cx="1988079" cy="28892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6" name="Rectangle 16"/>
          <p:cNvSpPr>
            <a:spLocks noChangeArrowheads="1"/>
          </p:cNvSpPr>
          <p:nvPr/>
        </p:nvSpPr>
        <p:spPr bwMode="auto">
          <a:xfrm>
            <a:off x="7411415" y="3241328"/>
            <a:ext cx="1988079" cy="290512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7" name="Rectangle 17"/>
          <p:cNvSpPr>
            <a:spLocks noChangeArrowheads="1"/>
          </p:cNvSpPr>
          <p:nvPr/>
        </p:nvSpPr>
        <p:spPr bwMode="auto">
          <a:xfrm>
            <a:off x="7411415" y="3633441"/>
            <a:ext cx="1988079" cy="290513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dirty="0">
                <a:solidFill>
                  <a:schemeClr val="tx1"/>
                </a:solidFill>
              </a:rPr>
              <a:t>Tex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6098" name="Rectangle 18"/>
          <p:cNvSpPr>
            <a:spLocks noChangeArrowheads="1"/>
          </p:cNvSpPr>
          <p:nvPr/>
        </p:nvSpPr>
        <p:spPr bwMode="auto">
          <a:xfrm>
            <a:off x="7411415" y="4023966"/>
            <a:ext cx="1988079" cy="290513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099" name="Rectangle 19"/>
          <p:cNvSpPr>
            <a:spLocks noChangeArrowheads="1"/>
          </p:cNvSpPr>
          <p:nvPr/>
        </p:nvSpPr>
        <p:spPr bwMode="auto">
          <a:xfrm>
            <a:off x="7411415" y="4416079"/>
            <a:ext cx="1988079" cy="28892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100" name="Rectangle 20"/>
          <p:cNvSpPr>
            <a:spLocks noChangeArrowheads="1"/>
          </p:cNvSpPr>
          <p:nvPr/>
        </p:nvSpPr>
        <p:spPr bwMode="auto">
          <a:xfrm>
            <a:off x="7411415" y="4805016"/>
            <a:ext cx="1988079" cy="290513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101" name="Rectangle 21"/>
          <p:cNvSpPr>
            <a:spLocks noChangeArrowheads="1"/>
          </p:cNvSpPr>
          <p:nvPr/>
        </p:nvSpPr>
        <p:spPr bwMode="auto">
          <a:xfrm>
            <a:off x="7411415" y="5197128"/>
            <a:ext cx="1988079" cy="290512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102" name="Rectangle 22"/>
          <p:cNvSpPr>
            <a:spLocks noChangeArrowheads="1"/>
          </p:cNvSpPr>
          <p:nvPr/>
        </p:nvSpPr>
        <p:spPr bwMode="auto">
          <a:xfrm>
            <a:off x="7411415" y="5589240"/>
            <a:ext cx="1988079" cy="287338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6103" name="Rectangle 23"/>
          <p:cNvSpPr>
            <a:spLocks noChangeArrowheads="1"/>
          </p:cNvSpPr>
          <p:nvPr/>
        </p:nvSpPr>
        <p:spPr bwMode="auto">
          <a:xfrm>
            <a:off x="4896248" y="1681610"/>
            <a:ext cx="1735269" cy="2905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6104" name="Rectangle 24"/>
          <p:cNvSpPr>
            <a:spLocks noChangeArrowheads="1"/>
          </p:cNvSpPr>
          <p:nvPr/>
        </p:nvSpPr>
        <p:spPr bwMode="auto">
          <a:xfrm>
            <a:off x="4896248" y="2850803"/>
            <a:ext cx="1735269" cy="2905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6105" name="Rectangle 25"/>
          <p:cNvSpPr>
            <a:spLocks noChangeArrowheads="1"/>
          </p:cNvSpPr>
          <p:nvPr/>
        </p:nvSpPr>
        <p:spPr bwMode="auto">
          <a:xfrm>
            <a:off x="4896248" y="4024760"/>
            <a:ext cx="1735269" cy="29051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6106" name="Rectangle 26"/>
          <p:cNvSpPr>
            <a:spLocks noChangeArrowheads="1"/>
          </p:cNvSpPr>
          <p:nvPr/>
        </p:nvSpPr>
        <p:spPr bwMode="auto">
          <a:xfrm>
            <a:off x="4896248" y="5197128"/>
            <a:ext cx="1735269" cy="2905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cxnSp>
        <p:nvCxnSpPr>
          <p:cNvPr id="46107" name="AutoShape 27"/>
          <p:cNvCxnSpPr>
            <a:cxnSpLocks noChangeShapeType="1"/>
            <a:stCxn id="46085" idx="3"/>
            <a:endCxn id="46105" idx="1"/>
          </p:cNvCxnSpPr>
          <p:nvPr/>
        </p:nvCxnSpPr>
        <p:spPr bwMode="auto">
          <a:xfrm flipV="1">
            <a:off x="3769784" y="4170016"/>
            <a:ext cx="1126464" cy="586184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08" name="AutoShape 28"/>
          <p:cNvCxnSpPr>
            <a:cxnSpLocks noChangeShapeType="1"/>
            <a:stCxn id="46085" idx="3"/>
            <a:endCxn id="46106" idx="1"/>
          </p:cNvCxnSpPr>
          <p:nvPr/>
        </p:nvCxnSpPr>
        <p:spPr bwMode="auto">
          <a:xfrm>
            <a:off x="3769784" y="4756200"/>
            <a:ext cx="1126464" cy="586184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09" name="AutoShape 29"/>
          <p:cNvCxnSpPr>
            <a:cxnSpLocks noChangeShapeType="1"/>
            <a:stCxn id="46103" idx="3"/>
            <a:endCxn id="46091" idx="1"/>
          </p:cNvCxnSpPr>
          <p:nvPr/>
        </p:nvCxnSpPr>
        <p:spPr bwMode="auto">
          <a:xfrm flipV="1">
            <a:off x="6631517" y="1437134"/>
            <a:ext cx="779898" cy="389732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0" name="AutoShape 30"/>
          <p:cNvCxnSpPr>
            <a:cxnSpLocks noChangeShapeType="1"/>
            <a:stCxn id="46103" idx="3"/>
            <a:endCxn id="46092" idx="1"/>
          </p:cNvCxnSpPr>
          <p:nvPr/>
        </p:nvCxnSpPr>
        <p:spPr bwMode="auto">
          <a:xfrm flipV="1">
            <a:off x="6631517" y="1826072"/>
            <a:ext cx="779898" cy="794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cxnSp>
        <p:nvCxnSpPr>
          <p:cNvPr id="46111" name="AutoShape 31"/>
          <p:cNvCxnSpPr>
            <a:cxnSpLocks noChangeShapeType="1"/>
            <a:stCxn id="46103" idx="3"/>
            <a:endCxn id="46093" idx="1"/>
          </p:cNvCxnSpPr>
          <p:nvPr/>
        </p:nvCxnSpPr>
        <p:spPr bwMode="auto">
          <a:xfrm>
            <a:off x="6631517" y="1826866"/>
            <a:ext cx="779898" cy="391318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2" name="AutoShape 32"/>
          <p:cNvCxnSpPr>
            <a:cxnSpLocks noChangeShapeType="1"/>
            <a:stCxn id="46104" idx="3"/>
            <a:endCxn id="46094" idx="1"/>
          </p:cNvCxnSpPr>
          <p:nvPr/>
        </p:nvCxnSpPr>
        <p:spPr bwMode="auto">
          <a:xfrm flipV="1">
            <a:off x="6631517" y="2607123"/>
            <a:ext cx="779898" cy="38893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3" name="AutoShape 33"/>
          <p:cNvCxnSpPr>
            <a:cxnSpLocks noChangeShapeType="1"/>
            <a:stCxn id="46104" idx="3"/>
            <a:endCxn id="46095" idx="1"/>
          </p:cNvCxnSpPr>
          <p:nvPr/>
        </p:nvCxnSpPr>
        <p:spPr bwMode="auto">
          <a:xfrm>
            <a:off x="6631517" y="2996059"/>
            <a:ext cx="779898" cy="2382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cxnSp>
        <p:nvCxnSpPr>
          <p:cNvPr id="46114" name="AutoShape 34"/>
          <p:cNvCxnSpPr>
            <a:cxnSpLocks noChangeShapeType="1"/>
            <a:stCxn id="46104" idx="3"/>
            <a:endCxn id="46096" idx="1"/>
          </p:cNvCxnSpPr>
          <p:nvPr/>
        </p:nvCxnSpPr>
        <p:spPr bwMode="auto">
          <a:xfrm>
            <a:off x="6631517" y="2996060"/>
            <a:ext cx="779898" cy="39052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5" name="AutoShape 35"/>
          <p:cNvCxnSpPr>
            <a:cxnSpLocks noChangeShapeType="1"/>
            <a:stCxn id="46105" idx="3"/>
            <a:endCxn id="46097" idx="1"/>
          </p:cNvCxnSpPr>
          <p:nvPr/>
        </p:nvCxnSpPr>
        <p:spPr bwMode="auto">
          <a:xfrm flipV="1">
            <a:off x="6631517" y="3778698"/>
            <a:ext cx="779898" cy="39131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6" name="AutoShape 36"/>
          <p:cNvCxnSpPr>
            <a:cxnSpLocks noChangeShapeType="1"/>
            <a:stCxn id="46105" idx="3"/>
            <a:endCxn id="46099" idx="1"/>
          </p:cNvCxnSpPr>
          <p:nvPr/>
        </p:nvCxnSpPr>
        <p:spPr bwMode="auto">
          <a:xfrm>
            <a:off x="6631517" y="4170017"/>
            <a:ext cx="779898" cy="390525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7" name="AutoShape 37"/>
          <p:cNvCxnSpPr>
            <a:cxnSpLocks noChangeShapeType="1"/>
            <a:stCxn id="46106" idx="3"/>
            <a:endCxn id="46101" idx="1"/>
          </p:cNvCxnSpPr>
          <p:nvPr/>
        </p:nvCxnSpPr>
        <p:spPr bwMode="auto">
          <a:xfrm>
            <a:off x="6631517" y="5342384"/>
            <a:ext cx="779898" cy="0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cxnSp>
        <p:nvCxnSpPr>
          <p:cNvPr id="46118" name="AutoShape 38"/>
          <p:cNvCxnSpPr>
            <a:cxnSpLocks noChangeShapeType="1"/>
            <a:stCxn id="46106" idx="3"/>
            <a:endCxn id="46100" idx="1"/>
          </p:cNvCxnSpPr>
          <p:nvPr/>
        </p:nvCxnSpPr>
        <p:spPr bwMode="auto">
          <a:xfrm flipV="1">
            <a:off x="6631517" y="4950272"/>
            <a:ext cx="779898" cy="392112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19" name="AutoShape 39"/>
          <p:cNvCxnSpPr>
            <a:cxnSpLocks noChangeShapeType="1"/>
            <a:stCxn id="46106" idx="3"/>
            <a:endCxn id="46102" idx="1"/>
          </p:cNvCxnSpPr>
          <p:nvPr/>
        </p:nvCxnSpPr>
        <p:spPr bwMode="auto">
          <a:xfrm>
            <a:off x="6631517" y="5342385"/>
            <a:ext cx="779898" cy="39052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20" name="AutoShape 40"/>
          <p:cNvCxnSpPr>
            <a:cxnSpLocks noChangeShapeType="1"/>
            <a:stCxn id="46105" idx="3"/>
            <a:endCxn id="46098" idx="1"/>
          </p:cNvCxnSpPr>
          <p:nvPr/>
        </p:nvCxnSpPr>
        <p:spPr bwMode="auto">
          <a:xfrm flipV="1">
            <a:off x="6631517" y="4169222"/>
            <a:ext cx="779898" cy="794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sp>
        <p:nvSpPr>
          <p:cNvPr id="42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Horizontal Issue Tre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54743142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4"/>
          <p:cNvSpPr>
            <a:spLocks noChangeArrowheads="1"/>
          </p:cNvSpPr>
          <p:nvPr/>
        </p:nvSpPr>
        <p:spPr bwMode="auto">
          <a:xfrm>
            <a:off x="2230020" y="2559075"/>
            <a:ext cx="1427427" cy="476250"/>
          </a:xfrm>
          <a:prstGeom prst="rect">
            <a:avLst/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57" name="Rectangle 5"/>
          <p:cNvSpPr>
            <a:spLocks noChangeArrowheads="1"/>
          </p:cNvSpPr>
          <p:nvPr/>
        </p:nvSpPr>
        <p:spPr bwMode="auto">
          <a:xfrm>
            <a:off x="4160176" y="1628801"/>
            <a:ext cx="1566730" cy="485775"/>
          </a:xfrm>
          <a:prstGeom prst="rect">
            <a:avLst/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58" name="Rectangle 6"/>
          <p:cNvSpPr>
            <a:spLocks noChangeArrowheads="1"/>
          </p:cNvSpPr>
          <p:nvPr/>
        </p:nvSpPr>
        <p:spPr bwMode="auto">
          <a:xfrm>
            <a:off x="6314109" y="2559075"/>
            <a:ext cx="1427427" cy="476250"/>
          </a:xfrm>
          <a:prstGeom prst="rect">
            <a:avLst/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cxnSp>
        <p:nvCxnSpPr>
          <p:cNvPr id="49159" name="AutoShape 7"/>
          <p:cNvCxnSpPr>
            <a:cxnSpLocks noChangeShapeType="1"/>
            <a:stCxn id="49157" idx="2"/>
            <a:endCxn id="49156" idx="0"/>
          </p:cNvCxnSpPr>
          <p:nvPr/>
        </p:nvCxnSpPr>
        <p:spPr bwMode="auto">
          <a:xfrm rot="5400000">
            <a:off x="3721388" y="1336922"/>
            <a:ext cx="444500" cy="1999808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60" name="AutoShape 8"/>
          <p:cNvCxnSpPr>
            <a:cxnSpLocks noChangeShapeType="1"/>
            <a:stCxn id="49157" idx="2"/>
            <a:endCxn id="49158" idx="0"/>
          </p:cNvCxnSpPr>
          <p:nvPr/>
        </p:nvCxnSpPr>
        <p:spPr bwMode="auto">
          <a:xfrm rot="16200000" flipH="1">
            <a:off x="5763432" y="1294685"/>
            <a:ext cx="444500" cy="2084281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61" name="AutoShape 9"/>
          <p:cNvCxnSpPr>
            <a:cxnSpLocks noChangeShapeType="1"/>
            <a:stCxn id="49156" idx="2"/>
            <a:endCxn id="49166" idx="0"/>
          </p:cNvCxnSpPr>
          <p:nvPr/>
        </p:nvCxnSpPr>
        <p:spPr bwMode="auto">
          <a:xfrm rot="5400000">
            <a:off x="2144163" y="2734229"/>
            <a:ext cx="498475" cy="1100667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62" name="AutoShape 10"/>
          <p:cNvCxnSpPr>
            <a:cxnSpLocks noChangeShapeType="1"/>
            <a:stCxn id="49156" idx="2"/>
            <a:endCxn id="49165" idx="0"/>
          </p:cNvCxnSpPr>
          <p:nvPr/>
        </p:nvCxnSpPr>
        <p:spPr bwMode="auto">
          <a:xfrm rot="16200000" flipH="1">
            <a:off x="3205321" y="2773738"/>
            <a:ext cx="498475" cy="102164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63" name="AutoShape 11"/>
          <p:cNvCxnSpPr>
            <a:cxnSpLocks noChangeShapeType="1"/>
            <a:stCxn id="49158" idx="2"/>
            <a:endCxn id="49168" idx="0"/>
          </p:cNvCxnSpPr>
          <p:nvPr/>
        </p:nvCxnSpPr>
        <p:spPr bwMode="auto">
          <a:xfrm rot="5400000">
            <a:off x="6331204" y="2837180"/>
            <a:ext cx="498475" cy="894764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64" name="AutoShape 12"/>
          <p:cNvCxnSpPr>
            <a:cxnSpLocks noChangeShapeType="1"/>
            <a:stCxn id="49158" idx="2"/>
            <a:endCxn id="49167" idx="0"/>
          </p:cNvCxnSpPr>
          <p:nvPr/>
        </p:nvCxnSpPr>
        <p:spPr bwMode="auto">
          <a:xfrm rot="16200000" flipH="1">
            <a:off x="7325909" y="2737239"/>
            <a:ext cx="498475" cy="1094646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9165" name="Rectangle 13"/>
          <p:cNvSpPr>
            <a:spLocks noChangeArrowheads="1"/>
          </p:cNvSpPr>
          <p:nvPr/>
        </p:nvSpPr>
        <p:spPr bwMode="auto">
          <a:xfrm>
            <a:off x="3483841" y="3533800"/>
            <a:ext cx="963083" cy="487362"/>
          </a:xfrm>
          <a:prstGeom prst="rect">
            <a:avLst/>
          </a:prstGeom>
          <a:solidFill>
            <a:srgbClr val="59595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66" name="Rectangle 14"/>
          <p:cNvSpPr>
            <a:spLocks noChangeArrowheads="1"/>
          </p:cNvSpPr>
          <p:nvPr/>
        </p:nvSpPr>
        <p:spPr bwMode="auto">
          <a:xfrm>
            <a:off x="1361525" y="3533800"/>
            <a:ext cx="963083" cy="487362"/>
          </a:xfrm>
          <a:prstGeom prst="rect">
            <a:avLst/>
          </a:prstGeom>
          <a:solidFill>
            <a:srgbClr val="59595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67" name="Rectangle 15"/>
          <p:cNvSpPr>
            <a:spLocks noChangeArrowheads="1"/>
          </p:cNvSpPr>
          <p:nvPr/>
        </p:nvSpPr>
        <p:spPr bwMode="auto">
          <a:xfrm>
            <a:off x="7640066" y="3533800"/>
            <a:ext cx="964804" cy="487362"/>
          </a:xfrm>
          <a:prstGeom prst="rect">
            <a:avLst/>
          </a:prstGeom>
          <a:solidFill>
            <a:srgbClr val="59595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68" name="Rectangle 16"/>
          <p:cNvSpPr>
            <a:spLocks noChangeArrowheads="1"/>
          </p:cNvSpPr>
          <p:nvPr/>
        </p:nvSpPr>
        <p:spPr bwMode="auto">
          <a:xfrm>
            <a:off x="5650657" y="3533800"/>
            <a:ext cx="964804" cy="487362"/>
          </a:xfrm>
          <a:prstGeom prst="rect">
            <a:avLst/>
          </a:prstGeom>
          <a:solidFill>
            <a:srgbClr val="59595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b="1">
                <a:solidFill>
                  <a:schemeClr val="bg1"/>
                </a:solidFill>
              </a:rPr>
              <a:t>Text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9169" name="Rectangle 17"/>
          <p:cNvSpPr>
            <a:spLocks noChangeArrowheads="1"/>
          </p:cNvSpPr>
          <p:nvPr/>
        </p:nvSpPr>
        <p:spPr bwMode="auto">
          <a:xfrm>
            <a:off x="517107" y="5689625"/>
            <a:ext cx="662120" cy="488950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70" name="Rectangle 18"/>
          <p:cNvSpPr>
            <a:spLocks noChangeArrowheads="1"/>
          </p:cNvSpPr>
          <p:nvPr/>
        </p:nvSpPr>
        <p:spPr bwMode="auto">
          <a:xfrm>
            <a:off x="1511146" y="5689625"/>
            <a:ext cx="662120" cy="488950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71" name="Rectangle 19"/>
          <p:cNvSpPr>
            <a:spLocks noChangeArrowheads="1"/>
          </p:cNvSpPr>
          <p:nvPr/>
        </p:nvSpPr>
        <p:spPr bwMode="auto">
          <a:xfrm>
            <a:off x="2505186" y="5689625"/>
            <a:ext cx="662120" cy="488950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72" name="Rectangle 20"/>
          <p:cNvSpPr>
            <a:spLocks noChangeArrowheads="1"/>
          </p:cNvSpPr>
          <p:nvPr/>
        </p:nvSpPr>
        <p:spPr bwMode="auto">
          <a:xfrm>
            <a:off x="6838644" y="5689626"/>
            <a:ext cx="663840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73" name="Rectangle 21"/>
          <p:cNvSpPr>
            <a:spLocks noChangeArrowheads="1"/>
          </p:cNvSpPr>
          <p:nvPr/>
        </p:nvSpPr>
        <p:spPr bwMode="auto">
          <a:xfrm>
            <a:off x="7791408" y="5689626"/>
            <a:ext cx="663840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74" name="Rectangle 22"/>
          <p:cNvSpPr>
            <a:spLocks noChangeArrowheads="1"/>
          </p:cNvSpPr>
          <p:nvPr/>
        </p:nvSpPr>
        <p:spPr bwMode="auto">
          <a:xfrm>
            <a:off x="8745894" y="5689626"/>
            <a:ext cx="662119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49175" name="AutoShape 23"/>
          <p:cNvCxnSpPr>
            <a:cxnSpLocks noChangeShapeType="1"/>
            <a:stCxn id="49166" idx="2"/>
            <a:endCxn id="49169" idx="0"/>
          </p:cNvCxnSpPr>
          <p:nvPr/>
        </p:nvCxnSpPr>
        <p:spPr bwMode="auto">
          <a:xfrm rot="5400000">
            <a:off x="511816" y="4358374"/>
            <a:ext cx="1668463" cy="994040"/>
          </a:xfrm>
          <a:prstGeom prst="bentConnector3">
            <a:avLst>
              <a:gd name="adj1" fmla="val 49954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76" name="AutoShape 24"/>
          <p:cNvCxnSpPr>
            <a:cxnSpLocks noChangeShapeType="1"/>
            <a:stCxn id="49166" idx="2"/>
            <a:endCxn id="49170" idx="0"/>
          </p:cNvCxnSpPr>
          <p:nvPr/>
        </p:nvCxnSpPr>
        <p:spPr bwMode="auto">
          <a:xfrm rot="5400000">
            <a:off x="1008835" y="4855394"/>
            <a:ext cx="1668463" cy="0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cxnSp>
        <p:nvCxnSpPr>
          <p:cNvPr id="49177" name="AutoShape 25"/>
          <p:cNvCxnSpPr>
            <a:cxnSpLocks noChangeShapeType="1"/>
            <a:stCxn id="49166" idx="2"/>
            <a:endCxn id="49171" idx="0"/>
          </p:cNvCxnSpPr>
          <p:nvPr/>
        </p:nvCxnSpPr>
        <p:spPr bwMode="auto">
          <a:xfrm rot="16200000" flipH="1">
            <a:off x="1505855" y="4358374"/>
            <a:ext cx="1668463" cy="994040"/>
          </a:xfrm>
          <a:prstGeom prst="bentConnector3">
            <a:avLst>
              <a:gd name="adj1" fmla="val 49954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78" name="AutoShape 26"/>
          <p:cNvCxnSpPr>
            <a:cxnSpLocks noChangeShapeType="1"/>
            <a:stCxn id="49167" idx="2"/>
            <a:endCxn id="49172" idx="0"/>
          </p:cNvCxnSpPr>
          <p:nvPr/>
        </p:nvCxnSpPr>
        <p:spPr bwMode="auto">
          <a:xfrm rot="5400000">
            <a:off x="6812715" y="4379012"/>
            <a:ext cx="1668463" cy="952765"/>
          </a:xfrm>
          <a:prstGeom prst="bentConnector3">
            <a:avLst>
              <a:gd name="adj1" fmla="val 49954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79" name="AutoShape 27"/>
          <p:cNvCxnSpPr>
            <a:cxnSpLocks noChangeShapeType="1"/>
            <a:stCxn id="49167" idx="2"/>
            <a:endCxn id="49173" idx="0"/>
          </p:cNvCxnSpPr>
          <p:nvPr/>
        </p:nvCxnSpPr>
        <p:spPr bwMode="auto">
          <a:xfrm rot="5400000">
            <a:off x="7289097" y="4855394"/>
            <a:ext cx="1668463" cy="0"/>
          </a:xfrm>
          <a:prstGeom prst="straightConnector1">
            <a:avLst/>
          </a:prstGeom>
          <a:noFill/>
          <a:ln w="6350">
            <a:solidFill>
              <a:srgbClr val="7F7F7F"/>
            </a:solidFill>
            <a:round/>
            <a:headEnd/>
            <a:tailEnd type="triangle" w="med" len="med"/>
          </a:ln>
          <a:effectLst/>
        </p:spPr>
      </p:cxnSp>
      <p:cxnSp>
        <p:nvCxnSpPr>
          <p:cNvPr id="49180" name="AutoShape 28"/>
          <p:cNvCxnSpPr>
            <a:cxnSpLocks noChangeShapeType="1"/>
            <a:stCxn id="49167" idx="2"/>
            <a:endCxn id="49174" idx="0"/>
          </p:cNvCxnSpPr>
          <p:nvPr/>
        </p:nvCxnSpPr>
        <p:spPr bwMode="auto">
          <a:xfrm rot="16200000" flipH="1">
            <a:off x="7766339" y="4378152"/>
            <a:ext cx="1668463" cy="954484"/>
          </a:xfrm>
          <a:prstGeom prst="bentConnector3">
            <a:avLst>
              <a:gd name="adj1" fmla="val 49954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49181" name="Rectangle 29"/>
          <p:cNvSpPr>
            <a:spLocks noChangeArrowheads="1"/>
          </p:cNvSpPr>
          <p:nvPr/>
        </p:nvSpPr>
        <p:spPr bwMode="auto">
          <a:xfrm>
            <a:off x="3158801" y="4549801"/>
            <a:ext cx="662119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 dirty="0">
                <a:solidFill>
                  <a:schemeClr val="tx1"/>
                </a:solidFill>
              </a:rPr>
              <a:t>Tex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9182" name="Rectangle 30"/>
          <p:cNvSpPr>
            <a:spLocks noChangeArrowheads="1"/>
          </p:cNvSpPr>
          <p:nvPr/>
        </p:nvSpPr>
        <p:spPr bwMode="auto">
          <a:xfrm>
            <a:off x="4109845" y="4549801"/>
            <a:ext cx="663840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83" name="Rectangle 31"/>
          <p:cNvSpPr>
            <a:spLocks noChangeArrowheads="1"/>
          </p:cNvSpPr>
          <p:nvPr/>
        </p:nvSpPr>
        <p:spPr bwMode="auto">
          <a:xfrm>
            <a:off x="5325618" y="4549801"/>
            <a:ext cx="662119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9184" name="Rectangle 32"/>
          <p:cNvSpPr>
            <a:spLocks noChangeArrowheads="1"/>
          </p:cNvSpPr>
          <p:nvPr/>
        </p:nvSpPr>
        <p:spPr bwMode="auto">
          <a:xfrm>
            <a:off x="6278382" y="4549801"/>
            <a:ext cx="663840" cy="485775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 eaLnBrk="0" hangingPunct="0"/>
            <a:r>
              <a:rPr lang="en-GB" sz="1200">
                <a:solidFill>
                  <a:schemeClr val="tx1"/>
                </a:solidFill>
              </a:rPr>
              <a:t>Text</a:t>
            </a:r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49185" name="AutoShape 33"/>
          <p:cNvCxnSpPr>
            <a:cxnSpLocks noChangeShapeType="1"/>
            <a:stCxn id="49165" idx="2"/>
            <a:endCxn id="49181" idx="0"/>
          </p:cNvCxnSpPr>
          <p:nvPr/>
        </p:nvCxnSpPr>
        <p:spPr bwMode="auto">
          <a:xfrm rot="5400000">
            <a:off x="3463732" y="4048150"/>
            <a:ext cx="528638" cy="474663"/>
          </a:xfrm>
          <a:prstGeom prst="bentConnector3">
            <a:avLst>
              <a:gd name="adj1" fmla="val 49852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86" name="AutoShape 34"/>
          <p:cNvCxnSpPr>
            <a:cxnSpLocks noChangeShapeType="1"/>
            <a:stCxn id="49165" idx="2"/>
            <a:endCxn id="49182" idx="0"/>
          </p:cNvCxnSpPr>
          <p:nvPr/>
        </p:nvCxnSpPr>
        <p:spPr bwMode="auto">
          <a:xfrm rot="16200000" flipH="1">
            <a:off x="3939255" y="4047290"/>
            <a:ext cx="528638" cy="476383"/>
          </a:xfrm>
          <a:prstGeom prst="bentConnector3">
            <a:avLst>
              <a:gd name="adj1" fmla="val 49852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87" name="AutoShape 35"/>
          <p:cNvCxnSpPr>
            <a:cxnSpLocks noChangeShapeType="1"/>
            <a:stCxn id="49168" idx="2"/>
            <a:endCxn id="49183" idx="0"/>
          </p:cNvCxnSpPr>
          <p:nvPr/>
        </p:nvCxnSpPr>
        <p:spPr bwMode="auto">
          <a:xfrm rot="5400000">
            <a:off x="5631409" y="4047290"/>
            <a:ext cx="528638" cy="476383"/>
          </a:xfrm>
          <a:prstGeom prst="bentConnector3">
            <a:avLst>
              <a:gd name="adj1" fmla="val 49852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9188" name="AutoShape 36"/>
          <p:cNvCxnSpPr>
            <a:cxnSpLocks noChangeShapeType="1"/>
            <a:stCxn id="49168" idx="2"/>
            <a:endCxn id="49184" idx="0"/>
          </p:cNvCxnSpPr>
          <p:nvPr/>
        </p:nvCxnSpPr>
        <p:spPr bwMode="auto">
          <a:xfrm rot="16200000" flipH="1">
            <a:off x="6107791" y="4047290"/>
            <a:ext cx="528638" cy="476382"/>
          </a:xfrm>
          <a:prstGeom prst="bentConnector3">
            <a:avLst>
              <a:gd name="adj1" fmla="val 49852"/>
            </a:avLst>
          </a:prstGeom>
          <a:noFill/>
          <a:ln w="6350">
            <a:solidFill>
              <a:srgbClr val="7F7F7F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Vertical Issue Tre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55279543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7" name="Rectangle 21"/>
          <p:cNvSpPr>
            <a:spLocks noChangeArrowheads="1"/>
          </p:cNvSpPr>
          <p:nvPr/>
        </p:nvSpPr>
        <p:spPr bwMode="auto">
          <a:xfrm>
            <a:off x="507340" y="1628776"/>
            <a:ext cx="4352033" cy="2126875"/>
          </a:xfrm>
          <a:prstGeom prst="rect">
            <a:avLst/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400" b="1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4118" name="Rectangle 22"/>
          <p:cNvSpPr>
            <a:spLocks noChangeArrowheads="1"/>
          </p:cNvSpPr>
          <p:nvPr/>
        </p:nvSpPr>
        <p:spPr bwMode="auto">
          <a:xfrm>
            <a:off x="507340" y="3910752"/>
            <a:ext cx="4352033" cy="2126875"/>
          </a:xfrm>
          <a:prstGeom prst="rect">
            <a:avLst/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72000" tIns="72000" rIns="72000" bIns="72000" anchor="b"/>
          <a:lstStyle/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400" b="1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4119" name="Rectangle 23"/>
          <p:cNvSpPr>
            <a:spLocks noChangeArrowheads="1"/>
          </p:cNvSpPr>
          <p:nvPr/>
        </p:nvSpPr>
        <p:spPr bwMode="auto">
          <a:xfrm>
            <a:off x="5042370" y="3923037"/>
            <a:ext cx="4352033" cy="2126875"/>
          </a:xfrm>
          <a:prstGeom prst="rect">
            <a:avLst/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72000" tIns="72000" rIns="72000" bIns="72000" anchor="b"/>
          <a:lstStyle/>
          <a:p>
            <a:pPr marL="180000" indent="-180000" algn="l" defTabSz="566738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400" b="1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defTabSz="566738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defTabSz="566738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4120" name="Rectangle 24"/>
          <p:cNvSpPr>
            <a:spLocks noChangeArrowheads="1"/>
          </p:cNvSpPr>
          <p:nvPr/>
        </p:nvSpPr>
        <p:spPr bwMode="auto">
          <a:xfrm>
            <a:off x="5042370" y="1628776"/>
            <a:ext cx="4352033" cy="2126875"/>
          </a:xfrm>
          <a:prstGeom prst="rect">
            <a:avLst/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US" sz="1400" b="1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  <a:p>
            <a:pPr marL="180000" indent="-180000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4121" name="Oval 25"/>
          <p:cNvSpPr>
            <a:spLocks noChangeArrowheads="1"/>
          </p:cNvSpPr>
          <p:nvPr/>
        </p:nvSpPr>
        <p:spPr bwMode="auto">
          <a:xfrm>
            <a:off x="3797982" y="2768227"/>
            <a:ext cx="2307443" cy="2129946"/>
          </a:xfrm>
          <a:prstGeom prst="ellipse">
            <a:avLst/>
          </a:prstGeom>
          <a:solidFill>
            <a:srgbClr val="595959"/>
          </a:solidFill>
          <a:ln w="101600">
            <a:solidFill>
              <a:schemeClr val="bg1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/>
          <a:p>
            <a:pPr marL="180000" indent="-180000" algn="l" eaLnBrk="0" hangingPunct="0"/>
            <a:r>
              <a:rPr lang="en-US" sz="14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Factors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87427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4" name="AutoShape 4"/>
          <p:cNvSpPr>
            <a:spLocks noChangeArrowheads="1"/>
          </p:cNvSpPr>
          <p:nvPr/>
        </p:nvSpPr>
        <p:spPr bwMode="auto">
          <a:xfrm rot="16200000" flipH="1">
            <a:off x="1405624" y="3963842"/>
            <a:ext cx="1927304" cy="1931339"/>
          </a:xfrm>
          <a:prstGeom prst="homePlate">
            <a:avLst>
              <a:gd name="adj" fmla="val 33333"/>
            </a:avLst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45720" rIns="4572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/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/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/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 dirty="0"/>
              <a:t>Text</a:t>
            </a:r>
          </a:p>
        </p:txBody>
      </p:sp>
      <p:sp>
        <p:nvSpPr>
          <p:cNvPr id="56325" name="AutoShape 5"/>
          <p:cNvSpPr>
            <a:spLocks noChangeArrowheads="1"/>
          </p:cNvSpPr>
          <p:nvPr/>
        </p:nvSpPr>
        <p:spPr bwMode="auto">
          <a:xfrm rot="16200000" flipH="1">
            <a:off x="1476335" y="2754518"/>
            <a:ext cx="1785883" cy="1931339"/>
          </a:xfrm>
          <a:prstGeom prst="homePlate">
            <a:avLst>
              <a:gd name="adj" fmla="val 33333"/>
            </a:avLst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45720" rIns="4572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>
              <a:solidFill>
                <a:schemeClr val="bg1"/>
              </a:solidFill>
            </a:endParaRPr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>
              <a:solidFill>
                <a:schemeClr val="bg1"/>
              </a:solidFill>
            </a:endParaRPr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>
              <a:solidFill>
                <a:schemeClr val="bg1"/>
              </a:solidFill>
            </a:endParaRPr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6326" name="Rectangle 6"/>
          <p:cNvSpPr>
            <a:spLocks noChangeArrowheads="1"/>
          </p:cNvSpPr>
          <p:nvPr/>
        </p:nvSpPr>
        <p:spPr bwMode="auto">
          <a:xfrm>
            <a:off x="3449194" y="1628800"/>
            <a:ext cx="5092205" cy="1236403"/>
          </a:xfrm>
          <a:prstGeom prst="rect">
            <a:avLst/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45720" tIns="72000" rIns="45720" bIns="36000" anchor="t"/>
          <a:lstStyle/>
          <a:p>
            <a:pPr marL="114300" indent="-114300" algn="l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 dirty="0">
                <a:solidFill>
                  <a:schemeClr val="bg1"/>
                </a:solidFill>
              </a:rPr>
              <a:t> 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56327" name="Rectangle 7"/>
          <p:cNvSpPr>
            <a:spLocks noChangeArrowheads="1"/>
          </p:cNvSpPr>
          <p:nvPr/>
        </p:nvSpPr>
        <p:spPr bwMode="auto">
          <a:xfrm>
            <a:off x="3449194" y="2865204"/>
            <a:ext cx="5092205" cy="1236403"/>
          </a:xfrm>
          <a:prstGeom prst="rect">
            <a:avLst/>
          </a:prstGeom>
          <a:solidFill>
            <a:srgbClr val="FF952E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tIns="72000" rIns="45720" bIns="36000" anchor="t"/>
          <a:lstStyle/>
          <a:p>
            <a:pPr marL="114300" indent="-114300" algn="l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 dirty="0">
                <a:solidFill>
                  <a:schemeClr val="bg1"/>
                </a:solidFill>
              </a:rPr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56328" name="Rectangle 8"/>
          <p:cNvSpPr>
            <a:spLocks noChangeArrowheads="1"/>
          </p:cNvSpPr>
          <p:nvPr/>
        </p:nvSpPr>
        <p:spPr bwMode="auto">
          <a:xfrm>
            <a:off x="3449194" y="4077073"/>
            <a:ext cx="5092205" cy="1236403"/>
          </a:xfrm>
          <a:prstGeom prst="rect">
            <a:avLst/>
          </a:prstGeom>
          <a:solidFill>
            <a:srgbClr val="D9D9D9"/>
          </a:solidFill>
          <a:ln w="6350">
            <a:noFill/>
            <a:miter lim="800000"/>
            <a:headEnd/>
            <a:tailEnd/>
          </a:ln>
          <a:effectLst/>
        </p:spPr>
        <p:txBody>
          <a:bodyPr lIns="45720" tIns="72000" rIns="45720" bIns="36000" anchor="t"/>
          <a:lstStyle/>
          <a:p>
            <a:pPr marL="114300" indent="-114300" algn="l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 dirty="0"/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FontTx/>
              <a:buChar char="•"/>
            </a:pPr>
            <a:r>
              <a:rPr lang="en-GB" sz="1200" dirty="0"/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FontTx/>
              <a:buChar char="•"/>
            </a:pPr>
            <a:r>
              <a:rPr lang="en-GB" sz="1200" dirty="0"/>
              <a:t>Text</a:t>
            </a:r>
          </a:p>
          <a:p>
            <a:pPr marL="108000" indent="-108000" algn="l" eaLnBrk="0" hangingPunct="0">
              <a:spcBef>
                <a:spcPct val="30000"/>
              </a:spcBef>
              <a:buFontTx/>
              <a:buChar char="•"/>
            </a:pPr>
            <a:r>
              <a:rPr lang="en-GB" sz="1200" dirty="0"/>
              <a:t>Text</a:t>
            </a:r>
          </a:p>
        </p:txBody>
      </p:sp>
      <p:sp>
        <p:nvSpPr>
          <p:cNvPr id="56329" name="AutoShape 9"/>
          <p:cNvSpPr>
            <a:spLocks noChangeArrowheads="1"/>
          </p:cNvSpPr>
          <p:nvPr/>
        </p:nvSpPr>
        <p:spPr bwMode="auto">
          <a:xfrm rot="16200000" flipH="1">
            <a:off x="1398372" y="1634035"/>
            <a:ext cx="1941808" cy="1931339"/>
          </a:xfrm>
          <a:prstGeom prst="homePlate">
            <a:avLst>
              <a:gd name="adj" fmla="val 33521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45720" rIns="4572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n-GB" sz="12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onsequences / Conclusion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2224935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3014466" y="1628800"/>
            <a:ext cx="5526211" cy="1108760"/>
          </a:xfrm>
          <a:prstGeom prst="rect">
            <a:avLst/>
          </a:prstGeom>
          <a:solidFill>
            <a:srgbClr val="D9D9D9"/>
          </a:solidFill>
          <a:ln w="63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1418410" y="1628800"/>
            <a:ext cx="1914177" cy="1108760"/>
          </a:xfrm>
          <a:prstGeom prst="homePlate">
            <a:avLst>
              <a:gd name="adj" fmla="val 27116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 smtClean="0">
                <a:solidFill>
                  <a:schemeClr val="bg1"/>
                </a:solidFill>
              </a:rPr>
              <a:t>Text</a:t>
            </a:r>
            <a:endParaRPr lang="en-GB" sz="1200" b="1" dirty="0">
              <a:solidFill>
                <a:schemeClr val="bg1"/>
              </a:solidFill>
            </a:endParaRP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3014466" y="2937500"/>
            <a:ext cx="5526211" cy="1108760"/>
          </a:xfrm>
          <a:prstGeom prst="rect">
            <a:avLst/>
          </a:prstGeom>
          <a:solidFill>
            <a:srgbClr val="D9D9D9"/>
          </a:solidFill>
          <a:ln w="63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3014466" y="4246201"/>
            <a:ext cx="5526211" cy="1108760"/>
          </a:xfrm>
          <a:prstGeom prst="rect">
            <a:avLst/>
          </a:prstGeom>
          <a:solidFill>
            <a:srgbClr val="D9D9D9"/>
          </a:solidFill>
          <a:ln w="63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  <a:p>
            <a:pPr marL="571500" indent="-112713" algn="l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r>
              <a:rPr lang="en-GB" sz="1200" dirty="0"/>
              <a:t>Text</a:t>
            </a: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1418410" y="2937500"/>
            <a:ext cx="1914177" cy="1108760"/>
          </a:xfrm>
          <a:prstGeom prst="homePlate">
            <a:avLst>
              <a:gd name="adj" fmla="val 27116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 smtClean="0">
                <a:solidFill>
                  <a:schemeClr val="bg1"/>
                </a:solidFill>
              </a:rPr>
              <a:t>Text</a:t>
            </a:r>
            <a:endParaRPr lang="en-GB" sz="1200" b="1" dirty="0">
              <a:solidFill>
                <a:schemeClr val="bg1"/>
              </a:solidFill>
            </a:endParaRP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5" name="AutoShape 9"/>
          <p:cNvSpPr>
            <a:spLocks noChangeArrowheads="1"/>
          </p:cNvSpPr>
          <p:nvPr/>
        </p:nvSpPr>
        <p:spPr bwMode="auto">
          <a:xfrm>
            <a:off x="1418410" y="4246201"/>
            <a:ext cx="1914177" cy="1108760"/>
          </a:xfrm>
          <a:prstGeom prst="homePlate">
            <a:avLst>
              <a:gd name="adj" fmla="val 27116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GB" sz="1200" b="1" dirty="0" smtClean="0">
                <a:solidFill>
                  <a:schemeClr val="bg1"/>
                </a:solidFill>
              </a:rPr>
              <a:t>Text</a:t>
            </a:r>
            <a:endParaRPr lang="en-GB" sz="1200" b="1" dirty="0">
              <a:solidFill>
                <a:schemeClr val="bg1"/>
              </a:solidFill>
            </a:endParaRP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  <a:p>
            <a:pPr marL="114300" indent="-114300" algn="l" eaLnBrk="0" hangingPunct="0"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Tx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onsequences / Conclusion 2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700114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987" name="Rectangle 3"/>
          <p:cNvSpPr>
            <a:spLocks noChangeArrowheads="1"/>
          </p:cNvSpPr>
          <p:nvPr/>
        </p:nvSpPr>
        <p:spPr bwMode="auto">
          <a:xfrm>
            <a:off x="507340" y="5344815"/>
            <a:ext cx="9610996" cy="103631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Insert rows as required (each will adopt a different color)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Double-click on a bar to change the color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3	Drag data values outside the rows manually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4	Add labels manually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0461418"/>
              </p:ext>
            </p:extLst>
          </p:nvPr>
        </p:nvGraphicFramePr>
        <p:xfrm>
          <a:off x="248610" y="1484784"/>
          <a:ext cx="9121922" cy="4176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Deviation Bar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14573186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19" name="Rectangle 1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9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14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80489" y="2300313"/>
            <a:ext cx="1651000" cy="333216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GB" sz="1400" b="1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 dirty="0">
                <a:solidFill>
                  <a:schemeClr val="tx1"/>
                </a:solidFill>
              </a:rPr>
              <a:t>Text</a:t>
            </a:r>
            <a:endParaRPr lang="en-AU" sz="1400" dirty="0">
              <a:solidFill>
                <a:schemeClr val="tx1"/>
              </a:solidFill>
            </a:endParaRPr>
          </a:p>
        </p:txBody>
      </p:sp>
      <p:sp>
        <p:nvSpPr>
          <p:cNvPr id="76815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17479" y="2300313"/>
            <a:ext cx="1651000" cy="333216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GB" sz="1400" b="1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  <a:endParaRPr lang="en-AU" sz="1400">
              <a:solidFill>
                <a:schemeClr val="tx1"/>
              </a:solidFill>
            </a:endParaRPr>
          </a:p>
        </p:txBody>
      </p:sp>
      <p:sp>
        <p:nvSpPr>
          <p:cNvPr id="76816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93177" y="2300313"/>
            <a:ext cx="1651000" cy="333216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GB" sz="1400" b="1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  <a:endParaRPr lang="en-AU" sz="1400">
              <a:solidFill>
                <a:schemeClr val="tx1"/>
              </a:solidFill>
            </a:endParaRPr>
          </a:p>
        </p:txBody>
      </p:sp>
      <p:sp>
        <p:nvSpPr>
          <p:cNvPr id="76817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54468" y="2300313"/>
            <a:ext cx="1651000" cy="333216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</a:pPr>
            <a:r>
              <a:rPr lang="en-GB" sz="1400" b="1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GB" sz="1400">
                <a:solidFill>
                  <a:schemeClr val="tx1"/>
                </a:solidFill>
              </a:rPr>
              <a:t>Text</a:t>
            </a:r>
            <a:endParaRPr lang="en-AU" sz="1400">
              <a:solidFill>
                <a:schemeClr val="tx1"/>
              </a:solidFill>
            </a:endParaRPr>
          </a:p>
        </p:txBody>
      </p:sp>
      <p:sp>
        <p:nvSpPr>
          <p:cNvPr id="76818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07799" y="1628801"/>
            <a:ext cx="7895564" cy="671513"/>
          </a:xfrm>
          <a:prstGeom prst="triangle">
            <a:avLst>
              <a:gd name="adj" fmla="val 49995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r>
              <a:rPr lang="en-GB" sz="14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76820" name="Rectangle 2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07799" y="5632475"/>
            <a:ext cx="7895564" cy="571500"/>
          </a:xfrm>
          <a:prstGeom prst="rect">
            <a:avLst/>
          </a:prstGeom>
          <a:solidFill>
            <a:srgbClr val="595959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 anchor="ctr" anchorCtr="1"/>
          <a:lstStyle/>
          <a:p>
            <a:pPr eaLnBrk="0" hangingPunct="0"/>
            <a:r>
              <a:rPr lang="en-GB" sz="14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Pillar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371379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30978" y="478026"/>
            <a:ext cx="1389924" cy="50270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200" b="1" dirty="0" smtClean="0">
                <a:solidFill>
                  <a:srgbClr val="FF952E"/>
                </a:solidFill>
              </a:rPr>
              <a:t>FLOWS</a:t>
            </a:r>
            <a:endParaRPr lang="en-US" sz="3200" b="1" dirty="0">
              <a:solidFill>
                <a:srgbClr val="FF952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67" y="1441086"/>
            <a:ext cx="3040100" cy="21002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713" y="1441888"/>
            <a:ext cx="3027624" cy="2098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9" y="1443963"/>
            <a:ext cx="3019811" cy="20944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172" y="3632412"/>
            <a:ext cx="3017489" cy="209732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799" y="3633214"/>
            <a:ext cx="3029452" cy="209571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160" y="3630967"/>
            <a:ext cx="3029948" cy="210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4679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4" name="AutoShape 4"/>
          <p:cNvSpPr>
            <a:spLocks noChangeAspect="1" noChangeArrowheads="1"/>
          </p:cNvSpPr>
          <p:nvPr/>
        </p:nvSpPr>
        <p:spPr bwMode="auto">
          <a:xfrm>
            <a:off x="6610289" y="1913343"/>
            <a:ext cx="2877043" cy="1766918"/>
          </a:xfrm>
          <a:prstGeom prst="homePlate">
            <a:avLst>
              <a:gd name="adj" fmla="val 14404"/>
            </a:avLst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180000" tIns="72000" rIns="72000" bIns="72000"/>
          <a:lstStyle/>
          <a:p>
            <a:pPr algn="l" eaLnBrk="0" hangingPunct="0"/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02405" name="AutoShape 5"/>
          <p:cNvSpPr>
            <a:spLocks noChangeAspect="1" noChangeArrowheads="1"/>
          </p:cNvSpPr>
          <p:nvPr/>
        </p:nvSpPr>
        <p:spPr bwMode="auto">
          <a:xfrm>
            <a:off x="507339" y="1913343"/>
            <a:ext cx="3306280" cy="1766918"/>
          </a:xfrm>
          <a:prstGeom prst="homePlate">
            <a:avLst>
              <a:gd name="adj" fmla="val 16553"/>
            </a:avLst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l" eaLnBrk="0" hangingPunct="0"/>
            <a:r>
              <a:rPr lang="en-US" sz="1400" b="1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02406" name="AutoShape 6"/>
          <p:cNvSpPr>
            <a:spLocks noChangeAspect="1" noChangeArrowheads="1"/>
          </p:cNvSpPr>
          <p:nvPr/>
        </p:nvSpPr>
        <p:spPr bwMode="auto">
          <a:xfrm>
            <a:off x="3346264" y="1628800"/>
            <a:ext cx="3571445" cy="2336004"/>
          </a:xfrm>
          <a:prstGeom prst="chevron">
            <a:avLst>
              <a:gd name="adj" fmla="val 16380"/>
            </a:avLst>
          </a:prstGeom>
          <a:solidFill>
            <a:srgbClr val="FF6600"/>
          </a:solidFill>
          <a:ln w="6350">
            <a:noFill/>
            <a:miter lim="800000"/>
            <a:headEnd/>
            <a:tailEnd/>
          </a:ln>
          <a:effectLst/>
        </p:spPr>
        <p:txBody>
          <a:bodyPr lIns="180000" tIns="72000" rIns="72000" bIns="72000"/>
          <a:lstStyle/>
          <a:p>
            <a:pPr algn="l" eaLnBrk="0" hangingPunct="0"/>
            <a:r>
              <a:rPr lang="en-US" sz="1400" b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2407" name="Text Box 7"/>
          <p:cNvSpPr txBox="1">
            <a:spLocks noChangeAspect="1" noChangeArrowheads="1"/>
          </p:cNvSpPr>
          <p:nvPr/>
        </p:nvSpPr>
        <p:spPr bwMode="auto">
          <a:xfrm>
            <a:off x="527226" y="3964804"/>
            <a:ext cx="2819038" cy="164912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72000" rIns="0" bIns="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xt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2408" name="Text Box 8"/>
          <p:cNvSpPr txBox="1">
            <a:spLocks noChangeAspect="1" noChangeArrowheads="1"/>
          </p:cNvSpPr>
          <p:nvPr/>
        </p:nvSpPr>
        <p:spPr bwMode="auto">
          <a:xfrm>
            <a:off x="3346265" y="3964804"/>
            <a:ext cx="3168725" cy="164912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72000" rIns="0" bIns="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Text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2409" name="Text Box 9"/>
          <p:cNvSpPr txBox="1">
            <a:spLocks noChangeAspect="1" noChangeArrowheads="1"/>
          </p:cNvSpPr>
          <p:nvPr/>
        </p:nvSpPr>
        <p:spPr bwMode="auto">
          <a:xfrm>
            <a:off x="6610290" y="3964804"/>
            <a:ext cx="2883672" cy="164912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72000" rIns="0" bIns="0"/>
          <a:lstStyle/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Text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  <a:p>
            <a:pPr marL="179388" indent="-179388" algn="l" eaLnBrk="0" hangingPunct="0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Tx/>
              <a:buChar char="•"/>
            </a:pPr>
            <a:r>
              <a:rPr lang="en-US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Linear Flow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63518377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591727" y="1628634"/>
            <a:ext cx="4682992" cy="4675188"/>
            <a:chOff x="1999" y="1656"/>
            <a:chExt cx="1765" cy="1934"/>
          </a:xfrm>
        </p:grpSpPr>
        <p:sp>
          <p:nvSpPr>
            <p:cNvPr id="126981" name="Freeform 5"/>
            <p:cNvSpPr>
              <a:spLocks/>
            </p:cNvSpPr>
            <p:nvPr/>
          </p:nvSpPr>
          <p:spPr bwMode="auto">
            <a:xfrm>
              <a:off x="1999" y="2851"/>
              <a:ext cx="1765" cy="739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0" y="0"/>
                </a:cxn>
                <a:cxn ang="0">
                  <a:pos x="466" y="250"/>
                </a:cxn>
                <a:cxn ang="0">
                  <a:pos x="935" y="0"/>
                </a:cxn>
                <a:cxn ang="0">
                  <a:pos x="935" y="671"/>
                </a:cxn>
                <a:cxn ang="0">
                  <a:pos x="463" y="920"/>
                </a:cxn>
                <a:cxn ang="0">
                  <a:pos x="0" y="665"/>
                </a:cxn>
              </a:cxnLst>
              <a:rect l="0" t="0" r="r" b="b"/>
              <a:pathLst>
                <a:path w="936" h="921">
                  <a:moveTo>
                    <a:pt x="0" y="665"/>
                  </a:moveTo>
                  <a:lnTo>
                    <a:pt x="0" y="0"/>
                  </a:lnTo>
                  <a:lnTo>
                    <a:pt x="466" y="250"/>
                  </a:lnTo>
                  <a:lnTo>
                    <a:pt x="935" y="0"/>
                  </a:lnTo>
                  <a:lnTo>
                    <a:pt x="935" y="671"/>
                  </a:lnTo>
                  <a:lnTo>
                    <a:pt x="463" y="920"/>
                  </a:lnTo>
                  <a:lnTo>
                    <a:pt x="0" y="665"/>
                  </a:lnTo>
                </a:path>
              </a:pathLst>
            </a:custGeom>
            <a:solidFill>
              <a:srgbClr val="FF6600"/>
            </a:solidFill>
            <a:ln w="635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/>
            </a:p>
          </p:txBody>
        </p:sp>
        <p:sp>
          <p:nvSpPr>
            <p:cNvPr id="126982" name="Freeform 6"/>
            <p:cNvSpPr>
              <a:spLocks/>
            </p:cNvSpPr>
            <p:nvPr/>
          </p:nvSpPr>
          <p:spPr bwMode="auto">
            <a:xfrm>
              <a:off x="1999" y="2257"/>
              <a:ext cx="1765" cy="739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0" y="0"/>
                </a:cxn>
                <a:cxn ang="0">
                  <a:pos x="466" y="250"/>
                </a:cxn>
                <a:cxn ang="0">
                  <a:pos x="935" y="0"/>
                </a:cxn>
                <a:cxn ang="0">
                  <a:pos x="935" y="672"/>
                </a:cxn>
                <a:cxn ang="0">
                  <a:pos x="464" y="921"/>
                </a:cxn>
                <a:cxn ang="0">
                  <a:pos x="0" y="665"/>
                </a:cxn>
              </a:cxnLst>
              <a:rect l="0" t="0" r="r" b="b"/>
              <a:pathLst>
                <a:path w="936" h="922">
                  <a:moveTo>
                    <a:pt x="0" y="665"/>
                  </a:moveTo>
                  <a:lnTo>
                    <a:pt x="0" y="0"/>
                  </a:lnTo>
                  <a:lnTo>
                    <a:pt x="466" y="250"/>
                  </a:lnTo>
                  <a:lnTo>
                    <a:pt x="935" y="0"/>
                  </a:lnTo>
                  <a:lnTo>
                    <a:pt x="935" y="672"/>
                  </a:lnTo>
                  <a:lnTo>
                    <a:pt x="464" y="921"/>
                  </a:lnTo>
                  <a:lnTo>
                    <a:pt x="0" y="665"/>
                  </a:lnTo>
                </a:path>
              </a:pathLst>
            </a:custGeom>
            <a:solidFill>
              <a:srgbClr val="7F7F7F"/>
            </a:solidFill>
            <a:ln w="635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/>
            </a:p>
          </p:txBody>
        </p:sp>
        <p:sp>
          <p:nvSpPr>
            <p:cNvPr id="126983" name="Rectangle 7"/>
            <p:cNvSpPr>
              <a:spLocks noChangeArrowheads="1"/>
            </p:cNvSpPr>
            <p:nvPr/>
          </p:nvSpPr>
          <p:spPr bwMode="auto">
            <a:xfrm>
              <a:off x="2736" y="2578"/>
              <a:ext cx="291" cy="17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209550" indent="-209550" algn="ctr" defTabSz="922338" eaLnBrk="0" hangingPunct="0"/>
              <a:r>
                <a:rPr lang="en-GB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6984" name="Rectangle 8"/>
            <p:cNvSpPr>
              <a:spLocks noChangeArrowheads="1"/>
            </p:cNvSpPr>
            <p:nvPr/>
          </p:nvSpPr>
          <p:spPr bwMode="auto">
            <a:xfrm>
              <a:off x="2736" y="3185"/>
              <a:ext cx="291" cy="17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45720" rIns="45720"/>
            <a:lstStyle/>
            <a:p>
              <a:pPr marL="209550" indent="-209550" algn="ctr" defTabSz="922338" eaLnBrk="0" hangingPunct="0"/>
              <a:r>
                <a:rPr lang="en-GB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6985" name="AutoShape 9"/>
            <p:cNvSpPr>
              <a:spLocks noChangeArrowheads="1"/>
            </p:cNvSpPr>
            <p:nvPr/>
          </p:nvSpPr>
          <p:spPr bwMode="auto">
            <a:xfrm rot="5400000">
              <a:off x="2512" y="1148"/>
              <a:ext cx="739" cy="1756"/>
            </a:xfrm>
            <a:prstGeom prst="homePlate">
              <a:avLst>
                <a:gd name="adj" fmla="val 26255"/>
              </a:avLst>
            </a:prstGeom>
            <a:solidFill>
              <a:srgbClr val="D9D9D9"/>
            </a:solidFill>
            <a:ln w="6350" cap="rnd">
              <a:noFill/>
              <a:miter lim="800000"/>
              <a:headEnd/>
              <a:tailEnd/>
            </a:ln>
            <a:effectLst/>
          </p:spPr>
          <p:txBody>
            <a:bodyPr rot="10800000" vert="eaVert" wrap="none" lIns="45720" rIns="45720" anchor="ctr"/>
            <a:lstStyle/>
            <a:p>
              <a:pPr algn="ctr" eaLnBrk="0" hangingPunct="0"/>
              <a:r>
                <a:rPr lang="en-US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Chevron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76914232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503482" y="1605079"/>
            <a:ext cx="8903952" cy="4068874"/>
            <a:chOff x="202" y="1457"/>
            <a:chExt cx="5359" cy="2653"/>
          </a:xfrm>
          <a:solidFill>
            <a:srgbClr val="FF6600"/>
          </a:solidFill>
        </p:grpSpPr>
        <p:sp>
          <p:nvSpPr>
            <p:cNvPr id="129029" name="AutoShape 5"/>
            <p:cNvSpPr>
              <a:spLocks noChangeArrowheads="1"/>
            </p:cNvSpPr>
            <p:nvPr/>
          </p:nvSpPr>
          <p:spPr bwMode="auto">
            <a:xfrm>
              <a:off x="4534" y="3621"/>
              <a:ext cx="1027" cy="489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030" name="AutoShape 6"/>
            <p:cNvSpPr>
              <a:spLocks noChangeArrowheads="1"/>
            </p:cNvSpPr>
            <p:nvPr/>
          </p:nvSpPr>
          <p:spPr bwMode="auto">
            <a:xfrm>
              <a:off x="3666" y="3187"/>
              <a:ext cx="1030" cy="491"/>
            </a:xfrm>
            <a:prstGeom prst="homePlate">
              <a:avLst>
                <a:gd name="adj" fmla="val 13393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031" name="AutoShape 7"/>
            <p:cNvSpPr>
              <a:spLocks noChangeArrowheads="1"/>
            </p:cNvSpPr>
            <p:nvPr/>
          </p:nvSpPr>
          <p:spPr bwMode="auto">
            <a:xfrm>
              <a:off x="2801" y="2755"/>
              <a:ext cx="1027" cy="489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032" name="AutoShape 8"/>
            <p:cNvSpPr>
              <a:spLocks noChangeArrowheads="1"/>
            </p:cNvSpPr>
            <p:nvPr/>
          </p:nvSpPr>
          <p:spPr bwMode="auto">
            <a:xfrm>
              <a:off x="1935" y="2322"/>
              <a:ext cx="1027" cy="489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033" name="AutoShape 9"/>
            <p:cNvSpPr>
              <a:spLocks noChangeArrowheads="1"/>
            </p:cNvSpPr>
            <p:nvPr/>
          </p:nvSpPr>
          <p:spPr bwMode="auto">
            <a:xfrm>
              <a:off x="1069" y="1890"/>
              <a:ext cx="1028" cy="489"/>
            </a:xfrm>
            <a:prstGeom prst="homePlate">
              <a:avLst>
                <a:gd name="adj" fmla="val 13402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9034" name="AutoShape 10"/>
            <p:cNvSpPr>
              <a:spLocks noChangeArrowheads="1"/>
            </p:cNvSpPr>
            <p:nvPr/>
          </p:nvSpPr>
          <p:spPr bwMode="auto">
            <a:xfrm>
              <a:off x="202" y="1457"/>
              <a:ext cx="1027" cy="489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Steps-Descending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082954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07340" y="1617623"/>
            <a:ext cx="8891323" cy="4056975"/>
            <a:chOff x="320675" y="2211388"/>
            <a:chExt cx="8507413" cy="4205287"/>
          </a:xfrm>
          <a:solidFill>
            <a:srgbClr val="FF6600"/>
          </a:solidFill>
        </p:grpSpPr>
        <p:sp>
          <p:nvSpPr>
            <p:cNvPr id="131076" name="AutoShape 4"/>
            <p:cNvSpPr>
              <a:spLocks noChangeArrowheads="1"/>
            </p:cNvSpPr>
            <p:nvPr/>
          </p:nvSpPr>
          <p:spPr bwMode="auto">
            <a:xfrm>
              <a:off x="7197725" y="2211388"/>
              <a:ext cx="1630363" cy="776287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31077" name="AutoShape 5"/>
            <p:cNvSpPr>
              <a:spLocks noChangeArrowheads="1"/>
            </p:cNvSpPr>
            <p:nvPr/>
          </p:nvSpPr>
          <p:spPr bwMode="auto">
            <a:xfrm>
              <a:off x="5819775" y="2897188"/>
              <a:ext cx="1635125" cy="779462"/>
            </a:xfrm>
            <a:prstGeom prst="homePlate">
              <a:avLst>
                <a:gd name="adj" fmla="val 13393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31078" name="AutoShape 6"/>
            <p:cNvSpPr>
              <a:spLocks noChangeArrowheads="1"/>
            </p:cNvSpPr>
            <p:nvPr/>
          </p:nvSpPr>
          <p:spPr bwMode="auto">
            <a:xfrm>
              <a:off x="4446588" y="3586163"/>
              <a:ext cx="1630362" cy="776287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31079" name="AutoShape 7"/>
            <p:cNvSpPr>
              <a:spLocks noChangeArrowheads="1"/>
            </p:cNvSpPr>
            <p:nvPr/>
          </p:nvSpPr>
          <p:spPr bwMode="auto">
            <a:xfrm>
              <a:off x="3071813" y="4270375"/>
              <a:ext cx="1630362" cy="776288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31080" name="AutoShape 8"/>
            <p:cNvSpPr>
              <a:spLocks noChangeArrowheads="1"/>
            </p:cNvSpPr>
            <p:nvPr/>
          </p:nvSpPr>
          <p:spPr bwMode="auto">
            <a:xfrm>
              <a:off x="1697038" y="4956175"/>
              <a:ext cx="1631950" cy="776288"/>
            </a:xfrm>
            <a:prstGeom prst="homePlate">
              <a:avLst>
                <a:gd name="adj" fmla="val 13402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31081" name="AutoShape 9"/>
            <p:cNvSpPr>
              <a:spLocks noChangeArrowheads="1"/>
            </p:cNvSpPr>
            <p:nvPr/>
          </p:nvSpPr>
          <p:spPr bwMode="auto">
            <a:xfrm>
              <a:off x="320675" y="5640388"/>
              <a:ext cx="1630363" cy="776287"/>
            </a:xfrm>
            <a:prstGeom prst="homePlate">
              <a:avLst>
                <a:gd name="adj" fmla="val 13399"/>
              </a:avLst>
            </a:prstGeom>
            <a:grpFill/>
            <a:ln w="19050" cap="rnd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l"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Steps-</a:t>
            </a:r>
            <a:r>
              <a:rPr lang="en-US" sz="2400" b="1" dirty="0"/>
              <a:t>A</a:t>
            </a:r>
            <a:r>
              <a:rPr lang="en-US" sz="2400" b="1" dirty="0" smtClean="0"/>
              <a:t>scending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2294617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507340" y="2708920"/>
            <a:ext cx="8891323" cy="1670283"/>
            <a:chOff x="1399" y="2071"/>
            <a:chExt cx="3272" cy="666"/>
          </a:xfrm>
        </p:grpSpPr>
        <p:sp>
          <p:nvSpPr>
            <p:cNvPr id="97283" name="AutoShape 3"/>
            <p:cNvSpPr>
              <a:spLocks noChangeArrowheads="1"/>
            </p:cNvSpPr>
            <p:nvPr/>
          </p:nvSpPr>
          <p:spPr bwMode="auto">
            <a:xfrm rot="-5400000">
              <a:off x="2803" y="974"/>
              <a:ext cx="666" cy="2860"/>
            </a:xfrm>
            <a:custGeom>
              <a:avLst/>
              <a:gdLst>
                <a:gd name="G0" fmla="+- 6101 0 0"/>
                <a:gd name="G1" fmla="+- 21600 0 6101"/>
                <a:gd name="G2" fmla="*/ 6101 1 2"/>
                <a:gd name="G3" fmla="+- 21600 0 G2"/>
                <a:gd name="G4" fmla="+/ 6101 21600 2"/>
                <a:gd name="G5" fmla="+/ G1 0 2"/>
                <a:gd name="G6" fmla="*/ 21600 21600 6101"/>
                <a:gd name="G7" fmla="*/ G6 1 2"/>
                <a:gd name="G8" fmla="+- 21600 0 G7"/>
                <a:gd name="G9" fmla="*/ 21600 1 2"/>
                <a:gd name="G10" fmla="+- 6101 0 G9"/>
                <a:gd name="G11" fmla="?: G10 G8 0"/>
                <a:gd name="G12" fmla="?: G10 G7 21600"/>
                <a:gd name="T0" fmla="*/ 18549 w 21600"/>
                <a:gd name="T1" fmla="*/ 10800 h 21600"/>
                <a:gd name="T2" fmla="*/ 10800 w 21600"/>
                <a:gd name="T3" fmla="*/ 21600 h 21600"/>
                <a:gd name="T4" fmla="*/ 3051 w 21600"/>
                <a:gd name="T5" fmla="*/ 10800 h 21600"/>
                <a:gd name="T6" fmla="*/ 10800 w 21600"/>
                <a:gd name="T7" fmla="*/ 0 h 21600"/>
                <a:gd name="T8" fmla="*/ 4851 w 21600"/>
                <a:gd name="T9" fmla="*/ 4851 h 21600"/>
                <a:gd name="T10" fmla="*/ 16749 w 21600"/>
                <a:gd name="T11" fmla="*/ 1674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6101" y="21600"/>
                  </a:lnTo>
                  <a:lnTo>
                    <a:pt x="1549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endParaRPr lang="en-US"/>
            </a:p>
          </p:txBody>
        </p:sp>
        <p:sp>
          <p:nvSpPr>
            <p:cNvPr id="97284" name="Oval 4"/>
            <p:cNvSpPr>
              <a:spLocks noChangeArrowheads="1"/>
            </p:cNvSpPr>
            <p:nvPr/>
          </p:nvSpPr>
          <p:spPr bwMode="auto">
            <a:xfrm>
              <a:off x="1399" y="2072"/>
              <a:ext cx="664" cy="665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7285" name="Oval 5"/>
            <p:cNvSpPr>
              <a:spLocks noChangeArrowheads="1"/>
            </p:cNvSpPr>
            <p:nvPr/>
          </p:nvSpPr>
          <p:spPr bwMode="auto">
            <a:xfrm>
              <a:off x="2293" y="2125"/>
              <a:ext cx="558" cy="558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7286" name="Oval 6"/>
            <p:cNvSpPr>
              <a:spLocks noChangeArrowheads="1"/>
            </p:cNvSpPr>
            <p:nvPr/>
          </p:nvSpPr>
          <p:spPr bwMode="auto">
            <a:xfrm>
              <a:off x="3081" y="2172"/>
              <a:ext cx="465" cy="464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7287" name="Oval 7"/>
            <p:cNvSpPr>
              <a:spLocks noChangeArrowheads="1"/>
            </p:cNvSpPr>
            <p:nvPr/>
          </p:nvSpPr>
          <p:spPr bwMode="auto">
            <a:xfrm>
              <a:off x="3776" y="2220"/>
              <a:ext cx="367" cy="368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7288" name="Oval 8"/>
            <p:cNvSpPr>
              <a:spLocks noChangeArrowheads="1"/>
            </p:cNvSpPr>
            <p:nvPr/>
          </p:nvSpPr>
          <p:spPr bwMode="auto">
            <a:xfrm>
              <a:off x="4374" y="2256"/>
              <a:ext cx="297" cy="296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eaLnBrk="0" hangingPunct="0"/>
              <a:r>
                <a:rPr lang="en-GB" sz="1400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Pipeline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11301062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4091385" y="1196752"/>
            <a:ext cx="1680236" cy="4705350"/>
            <a:chOff x="2427" y="1140"/>
            <a:chExt cx="890" cy="2700"/>
          </a:xfrm>
        </p:grpSpPr>
        <p:sp>
          <p:nvSpPr>
            <p:cNvPr id="99331" name="AutoShape 3"/>
            <p:cNvSpPr>
              <a:spLocks noChangeArrowheads="1"/>
            </p:cNvSpPr>
            <p:nvPr/>
          </p:nvSpPr>
          <p:spPr bwMode="auto">
            <a:xfrm rot="-10800000">
              <a:off x="2427" y="1205"/>
              <a:ext cx="890" cy="2479"/>
            </a:xfrm>
            <a:custGeom>
              <a:avLst/>
              <a:gdLst>
                <a:gd name="G0" fmla="+- 6101 0 0"/>
                <a:gd name="G1" fmla="+- 21600 0 6101"/>
                <a:gd name="G2" fmla="*/ 6101 1 2"/>
                <a:gd name="G3" fmla="+- 21600 0 G2"/>
                <a:gd name="G4" fmla="+/ 6101 21600 2"/>
                <a:gd name="G5" fmla="+/ G1 0 2"/>
                <a:gd name="G6" fmla="*/ 21600 21600 6101"/>
                <a:gd name="G7" fmla="*/ G6 1 2"/>
                <a:gd name="G8" fmla="+- 21600 0 G7"/>
                <a:gd name="G9" fmla="*/ 21600 1 2"/>
                <a:gd name="G10" fmla="+- 6101 0 G9"/>
                <a:gd name="G11" fmla="?: G10 G8 0"/>
                <a:gd name="G12" fmla="?: G10 G7 21600"/>
                <a:gd name="T0" fmla="*/ 18549 w 21600"/>
                <a:gd name="T1" fmla="*/ 10800 h 21600"/>
                <a:gd name="T2" fmla="*/ 10800 w 21600"/>
                <a:gd name="T3" fmla="*/ 21600 h 21600"/>
                <a:gd name="T4" fmla="*/ 3051 w 21600"/>
                <a:gd name="T5" fmla="*/ 10800 h 21600"/>
                <a:gd name="T6" fmla="*/ 10800 w 21600"/>
                <a:gd name="T7" fmla="*/ 0 h 21600"/>
                <a:gd name="T8" fmla="*/ 4851 w 21600"/>
                <a:gd name="T9" fmla="*/ 4851 h 21600"/>
                <a:gd name="T10" fmla="*/ 16749 w 21600"/>
                <a:gd name="T11" fmla="*/ 1674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6101" y="21600"/>
                  </a:lnTo>
                  <a:lnTo>
                    <a:pt x="1549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99332" name="Oval 4"/>
            <p:cNvSpPr>
              <a:spLocks noChangeArrowheads="1"/>
            </p:cNvSpPr>
            <p:nvPr/>
          </p:nvSpPr>
          <p:spPr bwMode="auto">
            <a:xfrm rot="-5400000">
              <a:off x="2718" y="3241"/>
              <a:ext cx="309" cy="889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9333" name="Oval 5"/>
            <p:cNvSpPr>
              <a:spLocks noChangeArrowheads="1"/>
            </p:cNvSpPr>
            <p:nvPr/>
          </p:nvSpPr>
          <p:spPr bwMode="auto">
            <a:xfrm rot="-5400000">
              <a:off x="2746" y="2754"/>
              <a:ext cx="252" cy="773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9334" name="Oval 6"/>
            <p:cNvSpPr>
              <a:spLocks noChangeArrowheads="1"/>
            </p:cNvSpPr>
            <p:nvPr/>
          </p:nvSpPr>
          <p:spPr bwMode="auto">
            <a:xfrm rot="-5400000">
              <a:off x="2752" y="2296"/>
              <a:ext cx="240" cy="671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9335" name="Oval 7"/>
            <p:cNvSpPr>
              <a:spLocks noChangeArrowheads="1"/>
            </p:cNvSpPr>
            <p:nvPr/>
          </p:nvSpPr>
          <p:spPr bwMode="auto">
            <a:xfrm rot="-5400000">
              <a:off x="2751" y="1843"/>
              <a:ext cx="242" cy="571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9336" name="Oval 8"/>
            <p:cNvSpPr>
              <a:spLocks noChangeArrowheads="1"/>
            </p:cNvSpPr>
            <p:nvPr/>
          </p:nvSpPr>
          <p:spPr bwMode="auto">
            <a:xfrm rot="-5400000">
              <a:off x="2774" y="1412"/>
              <a:ext cx="193" cy="474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200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99337" name="Oval 9"/>
            <p:cNvSpPr>
              <a:spLocks noChangeArrowheads="1"/>
            </p:cNvSpPr>
            <p:nvPr/>
          </p:nvSpPr>
          <p:spPr bwMode="auto">
            <a:xfrm rot="-5400000">
              <a:off x="2797" y="1017"/>
              <a:ext cx="150" cy="395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vert="eaVert" wrap="none" lIns="72000" tIns="72000" rIns="72000" bIns="72000" anchor="ctr"/>
            <a:lstStyle/>
            <a:p>
              <a:pPr algn="ctr" eaLnBrk="0" hangingPunct="0"/>
              <a:r>
                <a:rPr lang="en-GB" sz="1000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Pipeline 2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1017651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896549" y="1196752"/>
            <a:ext cx="8073897" cy="4968550"/>
            <a:chOff x="192" y="1196"/>
            <a:chExt cx="5360" cy="2871"/>
          </a:xfrm>
        </p:grpSpPr>
        <p:sp>
          <p:nvSpPr>
            <p:cNvPr id="120836" name="Rectangle 4"/>
            <p:cNvSpPr>
              <a:spLocks noChangeArrowheads="1"/>
            </p:cNvSpPr>
            <p:nvPr/>
          </p:nvSpPr>
          <p:spPr bwMode="auto">
            <a:xfrm>
              <a:off x="192" y="2480"/>
              <a:ext cx="1279" cy="303"/>
            </a:xfrm>
            <a:prstGeom prst="rect">
              <a:avLst/>
            </a:pr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lang="en-US" sz="160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120837" name="Rectangle 5"/>
            <p:cNvSpPr>
              <a:spLocks noChangeArrowheads="1"/>
            </p:cNvSpPr>
            <p:nvPr/>
          </p:nvSpPr>
          <p:spPr bwMode="auto">
            <a:xfrm>
              <a:off x="4277" y="2480"/>
              <a:ext cx="1275" cy="303"/>
            </a:xfrm>
            <a:prstGeom prst="rect">
              <a:avLst/>
            </a:pr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lang="en-US" sz="1600">
                  <a:solidFill>
                    <a:schemeClr val="tx1"/>
                  </a:solidFill>
                </a:rPr>
                <a:t>Text</a:t>
              </a:r>
            </a:p>
          </p:txBody>
        </p:sp>
        <p:cxnSp>
          <p:nvCxnSpPr>
            <p:cNvPr id="120838" name="AutoShape 6"/>
            <p:cNvCxnSpPr>
              <a:cxnSpLocks noChangeShapeType="1"/>
              <a:stCxn id="120836" idx="3"/>
              <a:endCxn id="120839" idx="2"/>
            </p:cNvCxnSpPr>
            <p:nvPr/>
          </p:nvCxnSpPr>
          <p:spPr bwMode="auto">
            <a:xfrm>
              <a:off x="1471" y="2632"/>
              <a:ext cx="615" cy="0"/>
            </a:xfrm>
            <a:prstGeom prst="straightConnector1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/>
              <a:tailEnd/>
            </a:ln>
            <a:effectLst/>
          </p:spPr>
        </p:cxnSp>
        <p:sp>
          <p:nvSpPr>
            <p:cNvPr id="120839" name="Oval 7"/>
            <p:cNvSpPr>
              <a:spLocks noChangeArrowheads="1"/>
            </p:cNvSpPr>
            <p:nvPr/>
          </p:nvSpPr>
          <p:spPr bwMode="auto">
            <a:xfrm>
              <a:off x="2086" y="1997"/>
              <a:ext cx="1574" cy="1269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lang="en-US" sz="1600" b="1" dirty="0">
                  <a:solidFill>
                    <a:schemeClr val="bg1"/>
                  </a:solidFill>
                </a:rPr>
                <a:t>Text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20840" name="Rectangle 8"/>
            <p:cNvSpPr>
              <a:spLocks noChangeArrowheads="1"/>
            </p:cNvSpPr>
            <p:nvPr/>
          </p:nvSpPr>
          <p:spPr bwMode="auto">
            <a:xfrm>
              <a:off x="2235" y="3760"/>
              <a:ext cx="1278" cy="307"/>
            </a:xfrm>
            <a:prstGeom prst="rect">
              <a:avLst/>
            </a:pr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lang="en-US" sz="160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120841" name="Rectangle 9"/>
            <p:cNvSpPr>
              <a:spLocks noChangeArrowheads="1"/>
            </p:cNvSpPr>
            <p:nvPr/>
          </p:nvSpPr>
          <p:spPr bwMode="auto">
            <a:xfrm>
              <a:off x="2235" y="1196"/>
              <a:ext cx="1278" cy="307"/>
            </a:xfrm>
            <a:prstGeom prst="rect">
              <a:avLst/>
            </a:prstGeom>
            <a:solidFill>
              <a:srgbClr val="D9D9D9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 eaLnBrk="0" hangingPunct="0"/>
              <a:r>
                <a:rPr lang="en-US" sz="1600" dirty="0">
                  <a:solidFill>
                    <a:schemeClr val="tx1"/>
                  </a:solidFill>
                </a:rPr>
                <a:t>Text</a:t>
              </a:r>
            </a:p>
          </p:txBody>
        </p:sp>
        <p:cxnSp>
          <p:nvCxnSpPr>
            <p:cNvPr id="120842" name="AutoShape 10"/>
            <p:cNvCxnSpPr>
              <a:cxnSpLocks noChangeShapeType="1"/>
              <a:stCxn id="120839" idx="0"/>
              <a:endCxn id="120841" idx="2"/>
            </p:cNvCxnSpPr>
            <p:nvPr/>
          </p:nvCxnSpPr>
          <p:spPr bwMode="auto">
            <a:xfrm flipV="1">
              <a:off x="2873" y="1503"/>
              <a:ext cx="2" cy="494"/>
            </a:xfrm>
            <a:prstGeom prst="straightConnector1">
              <a:avLst/>
            </a:prstGeom>
            <a:noFill/>
            <a:ln w="6350">
              <a:solidFill>
                <a:srgbClr val="7F7F7F"/>
              </a:solidFill>
              <a:round/>
              <a:headEnd/>
              <a:tailEnd/>
            </a:ln>
            <a:effectLst/>
          </p:spPr>
        </p:cxnSp>
        <p:cxnSp>
          <p:nvCxnSpPr>
            <p:cNvPr id="120843" name="AutoShape 11"/>
            <p:cNvCxnSpPr>
              <a:cxnSpLocks noChangeShapeType="1"/>
              <a:stCxn id="120840" idx="0"/>
              <a:endCxn id="120839" idx="4"/>
            </p:cNvCxnSpPr>
            <p:nvPr/>
          </p:nvCxnSpPr>
          <p:spPr bwMode="auto">
            <a:xfrm flipH="1" flipV="1">
              <a:off x="2873" y="3266"/>
              <a:ext cx="2" cy="494"/>
            </a:xfrm>
            <a:prstGeom prst="straightConnector1">
              <a:avLst/>
            </a:prstGeom>
            <a:noFill/>
            <a:ln w="6350">
              <a:solidFill>
                <a:srgbClr val="7F7F7F"/>
              </a:solidFill>
              <a:round/>
              <a:headEnd/>
              <a:tailEnd/>
            </a:ln>
            <a:effectLst/>
          </p:spPr>
        </p:cxnSp>
        <p:cxnSp>
          <p:nvCxnSpPr>
            <p:cNvPr id="120844" name="AutoShape 12"/>
            <p:cNvCxnSpPr>
              <a:cxnSpLocks noChangeShapeType="1"/>
              <a:stCxn id="120840" idx="3"/>
              <a:endCxn id="120837" idx="2"/>
            </p:cNvCxnSpPr>
            <p:nvPr/>
          </p:nvCxnSpPr>
          <p:spPr bwMode="auto">
            <a:xfrm flipV="1">
              <a:off x="3513" y="2783"/>
              <a:ext cx="1402" cy="1131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0845" name="AutoShape 13"/>
            <p:cNvCxnSpPr>
              <a:cxnSpLocks noChangeShapeType="1"/>
              <a:stCxn id="120836" idx="2"/>
              <a:endCxn id="120840" idx="1"/>
            </p:cNvCxnSpPr>
            <p:nvPr/>
          </p:nvCxnSpPr>
          <p:spPr bwMode="auto">
            <a:xfrm rot="16200000" flipH="1">
              <a:off x="968" y="2647"/>
              <a:ext cx="1131" cy="1403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0846" name="AutoShape 14"/>
            <p:cNvCxnSpPr>
              <a:cxnSpLocks noChangeShapeType="1"/>
              <a:stCxn id="120841" idx="1"/>
              <a:endCxn id="120836" idx="0"/>
            </p:cNvCxnSpPr>
            <p:nvPr/>
          </p:nvCxnSpPr>
          <p:spPr bwMode="auto">
            <a:xfrm rot="10800000" flipV="1">
              <a:off x="832" y="1350"/>
              <a:ext cx="1403" cy="1130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0847" name="AutoShape 15"/>
            <p:cNvCxnSpPr>
              <a:cxnSpLocks noChangeShapeType="1"/>
              <a:stCxn id="120837" idx="0"/>
              <a:endCxn id="120841" idx="3"/>
            </p:cNvCxnSpPr>
            <p:nvPr/>
          </p:nvCxnSpPr>
          <p:spPr bwMode="auto">
            <a:xfrm rot="5400000" flipH="1">
              <a:off x="3649" y="1214"/>
              <a:ext cx="1130" cy="1402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0848" name="AutoShape 16"/>
            <p:cNvCxnSpPr>
              <a:cxnSpLocks noChangeShapeType="1"/>
              <a:stCxn id="120839" idx="6"/>
              <a:endCxn id="120837" idx="1"/>
            </p:cNvCxnSpPr>
            <p:nvPr/>
          </p:nvCxnSpPr>
          <p:spPr bwMode="auto">
            <a:xfrm>
              <a:off x="3660" y="2632"/>
              <a:ext cx="617" cy="0"/>
            </a:xfrm>
            <a:prstGeom prst="straightConnector1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/>
              <a:tailEnd/>
            </a:ln>
            <a:effectLst/>
          </p:spPr>
        </p:cxnSp>
      </p:grp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Iterative Flow 1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086725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896549" y="1196752"/>
            <a:ext cx="8073897" cy="4680519"/>
            <a:chOff x="1152" y="1440"/>
            <a:chExt cx="3936" cy="1902"/>
          </a:xfrm>
        </p:grpSpPr>
        <p:sp>
          <p:nvSpPr>
            <p:cNvPr id="122884" name="Oval 4"/>
            <p:cNvSpPr>
              <a:spLocks noChangeArrowheads="1"/>
            </p:cNvSpPr>
            <p:nvPr/>
          </p:nvSpPr>
          <p:spPr bwMode="auto">
            <a:xfrm>
              <a:off x="3596" y="2088"/>
              <a:ext cx="1492" cy="606"/>
            </a:xfrm>
            <a:prstGeom prst="ellipse">
              <a:avLst/>
            </a:prstGeom>
            <a:solidFill>
              <a:srgbClr val="FF6600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 eaLnBrk="0" hangingPunct="0"/>
              <a:r>
                <a:rPr lang="en-US" sz="16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2885" name="Oval 5"/>
            <p:cNvSpPr>
              <a:spLocks noChangeArrowheads="1"/>
            </p:cNvSpPr>
            <p:nvPr/>
          </p:nvSpPr>
          <p:spPr bwMode="auto">
            <a:xfrm>
              <a:off x="1152" y="2088"/>
              <a:ext cx="1492" cy="606"/>
            </a:xfrm>
            <a:prstGeom prst="ellipse">
              <a:avLst/>
            </a:prstGeom>
            <a:solidFill>
              <a:srgbClr val="7F7F7F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 eaLnBrk="0" hangingPunct="0"/>
              <a:r>
                <a:rPr lang="en-US" sz="1600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22886" name="Oval 6"/>
            <p:cNvSpPr>
              <a:spLocks noChangeArrowheads="1"/>
            </p:cNvSpPr>
            <p:nvPr/>
          </p:nvSpPr>
          <p:spPr bwMode="auto">
            <a:xfrm>
              <a:off x="2375" y="2737"/>
              <a:ext cx="1490" cy="605"/>
            </a:xfrm>
            <a:prstGeom prst="ellipse">
              <a:avLst/>
            </a:prstGeom>
            <a:solidFill>
              <a:srgbClr val="D9D9D9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 eaLnBrk="0" hangingPunct="0"/>
              <a:r>
                <a:rPr lang="en-US" sz="1600"/>
                <a:t>Text</a:t>
              </a:r>
            </a:p>
          </p:txBody>
        </p:sp>
        <p:sp>
          <p:nvSpPr>
            <p:cNvPr id="122887" name="Oval 7"/>
            <p:cNvSpPr>
              <a:spLocks noChangeArrowheads="1"/>
            </p:cNvSpPr>
            <p:nvPr/>
          </p:nvSpPr>
          <p:spPr bwMode="auto">
            <a:xfrm>
              <a:off x="2375" y="1440"/>
              <a:ext cx="1490" cy="605"/>
            </a:xfrm>
            <a:prstGeom prst="ellipse">
              <a:avLst/>
            </a:prstGeom>
            <a:solidFill>
              <a:srgbClr val="FF952E"/>
            </a:solidFill>
            <a:ln w="6350">
              <a:noFill/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 eaLnBrk="0" hangingPunct="0"/>
              <a:r>
                <a:rPr lang="en-US" sz="1600">
                  <a:solidFill>
                    <a:schemeClr val="bg1"/>
                  </a:solidFill>
                </a:rPr>
                <a:t>Text</a:t>
              </a:r>
            </a:p>
          </p:txBody>
        </p:sp>
        <p:cxnSp>
          <p:nvCxnSpPr>
            <p:cNvPr id="122888" name="AutoShape 8"/>
            <p:cNvCxnSpPr>
              <a:cxnSpLocks noChangeShapeType="1"/>
              <a:stCxn id="122885" idx="4"/>
              <a:endCxn id="122886" idx="2"/>
            </p:cNvCxnSpPr>
            <p:nvPr/>
          </p:nvCxnSpPr>
          <p:spPr bwMode="auto">
            <a:xfrm rot="16200000" flipH="1">
              <a:off x="1964" y="2628"/>
              <a:ext cx="346" cy="477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2889" name="AutoShape 9"/>
            <p:cNvCxnSpPr>
              <a:cxnSpLocks noChangeShapeType="1"/>
              <a:stCxn id="122887" idx="2"/>
              <a:endCxn id="122885" idx="0"/>
            </p:cNvCxnSpPr>
            <p:nvPr/>
          </p:nvCxnSpPr>
          <p:spPr bwMode="auto">
            <a:xfrm rot="10800000" flipV="1">
              <a:off x="1898" y="1743"/>
              <a:ext cx="477" cy="345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2890" name="AutoShape 10"/>
            <p:cNvCxnSpPr>
              <a:cxnSpLocks noChangeShapeType="1"/>
              <a:stCxn id="122884" idx="0"/>
              <a:endCxn id="122887" idx="6"/>
            </p:cNvCxnSpPr>
            <p:nvPr/>
          </p:nvCxnSpPr>
          <p:spPr bwMode="auto">
            <a:xfrm rot="5400000" flipH="1">
              <a:off x="3931" y="1677"/>
              <a:ext cx="345" cy="477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  <p:cxnSp>
          <p:nvCxnSpPr>
            <p:cNvPr id="122891" name="AutoShape 11"/>
            <p:cNvCxnSpPr>
              <a:cxnSpLocks noChangeShapeType="1"/>
              <a:stCxn id="122886" idx="6"/>
              <a:endCxn id="122884" idx="4"/>
            </p:cNvCxnSpPr>
            <p:nvPr/>
          </p:nvCxnSpPr>
          <p:spPr bwMode="auto">
            <a:xfrm flipV="1">
              <a:off x="3865" y="2694"/>
              <a:ext cx="477" cy="346"/>
            </a:xfrm>
            <a:prstGeom prst="curvedConnector2">
              <a:avLst/>
            </a:prstGeom>
            <a:noFill/>
            <a:ln w="6350">
              <a:solidFill>
                <a:srgbClr val="7F7F7F"/>
              </a:solidFill>
              <a:prstDash val="dash"/>
              <a:round/>
              <a:headEnd type="triangle" w="lg" len="med"/>
              <a:tailEnd/>
            </a:ln>
            <a:effectLst/>
          </p:spPr>
        </p:cxnSp>
      </p:grp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72480" y="296653"/>
            <a:ext cx="9526956" cy="298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/>
              <a:t>Iterative Flow 2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5039339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1" name="Rectangle 3"/>
          <p:cNvSpPr>
            <a:spLocks noChangeArrowheads="1"/>
          </p:cNvSpPr>
          <p:nvPr/>
        </p:nvSpPr>
        <p:spPr bwMode="auto">
          <a:xfrm>
            <a:off x="507340" y="5817393"/>
            <a:ext cx="5264752" cy="56118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ints</a:t>
            </a:r>
            <a:r>
              <a:rPr lang="en-US" sz="1000" dirty="0">
                <a:solidFill>
                  <a:schemeClr val="tx1"/>
                </a:solidFill>
              </a:rPr>
              <a:t>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Enter the number for the space between the y-axis and the bar in the “Space“ row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Enter the width of the bar in the “Group 2“ row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3853917"/>
              </p:ext>
            </p:extLst>
          </p:nvPr>
        </p:nvGraphicFramePr>
        <p:xfrm>
          <a:off x="184717" y="1356634"/>
          <a:ext cx="9213946" cy="4320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Range Bar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6463743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035" name="Rectangle 3"/>
          <p:cNvSpPr>
            <a:spLocks noChangeArrowheads="1"/>
          </p:cNvSpPr>
          <p:nvPr/>
        </p:nvSpPr>
        <p:spPr bwMode="auto">
          <a:xfrm>
            <a:off x="507338" y="5237165"/>
            <a:ext cx="6707913" cy="114458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45720" rIns="45720" anchor="b"/>
          <a:lstStyle/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endParaRPr lang="en-US" sz="1000" dirty="0" smtClean="0">
              <a:solidFill>
                <a:schemeClr val="tx1"/>
              </a:solidFill>
            </a:endParaRPr>
          </a:p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endParaRPr lang="en-US" sz="1000" dirty="0"/>
          </a:p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endParaRPr lang="en-US" sz="1000" dirty="0" smtClean="0">
              <a:solidFill>
                <a:schemeClr val="tx1"/>
              </a:solidFill>
            </a:endParaRPr>
          </a:p>
          <a:p>
            <a:pPr marL="192088" indent="-192088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 smtClean="0">
                <a:solidFill>
                  <a:schemeClr val="tx1"/>
                </a:solidFill>
              </a:rPr>
              <a:t>Hints</a:t>
            </a:r>
            <a:r>
              <a:rPr lang="en-US" sz="1000" b="1" dirty="0">
                <a:solidFill>
                  <a:schemeClr val="tx1"/>
                </a:solidFill>
              </a:rPr>
              <a:t>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Insert rows as required (each will adopt a different color)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Double-click on a bar to change the color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3	Drag data values outside the columns manually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4	Add labels manually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5	To change the width of the rows select Chart Options and turn on the x-axis, then use Format Axis/Scale to set the length of the x-axis. Once the scale is set, use Chart Options again to remove the x-axis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1605480"/>
              </p:ext>
            </p:extLst>
          </p:nvPr>
        </p:nvGraphicFramePr>
        <p:xfrm>
          <a:off x="285663" y="1503857"/>
          <a:ext cx="8151906" cy="3733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Sliding Bar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7996050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3" name="Line 3"/>
          <p:cNvSpPr>
            <a:spLocks noChangeShapeType="1"/>
          </p:cNvSpPr>
          <p:nvPr/>
        </p:nvSpPr>
        <p:spPr bwMode="auto">
          <a:xfrm>
            <a:off x="1547813" y="2357947"/>
            <a:ext cx="1720" cy="352425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45720" rIns="45720"/>
          <a:lstStyle/>
          <a:p>
            <a:endParaRPr lang="de-DE"/>
          </a:p>
        </p:txBody>
      </p:sp>
      <p:sp>
        <p:nvSpPr>
          <p:cNvPr id="302084" name="Rectangle 4"/>
          <p:cNvSpPr>
            <a:spLocks noChangeArrowheads="1"/>
          </p:cNvSpPr>
          <p:nvPr/>
        </p:nvSpPr>
        <p:spPr bwMode="auto">
          <a:xfrm>
            <a:off x="507340" y="5245572"/>
            <a:ext cx="6941938" cy="11223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Calculate the total and enter it in the "Sum" row (which is in a transparent bar)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Left align the total value (which is in a transparent bar)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3	Add the legend names manually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4	To change the width of the rows select Chart Options and turn on the x-axis, then use Format Axis/Scale to set the length of the x-axis. Once the scale is set, use Chart Options again to remove the x-axis</a:t>
            </a:r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7476347"/>
              </p:ext>
            </p:extLst>
          </p:nvPr>
        </p:nvGraphicFramePr>
        <p:xfrm>
          <a:off x="350489" y="1052737"/>
          <a:ext cx="7482276" cy="4278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Sub-divided Bar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9966507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7" name="Rectangle 3"/>
          <p:cNvSpPr>
            <a:spLocks noChangeArrowheads="1"/>
          </p:cNvSpPr>
          <p:nvPr/>
        </p:nvSpPr>
        <p:spPr bwMode="auto">
          <a:xfrm>
            <a:off x="507340" y="5834059"/>
            <a:ext cx="4947840" cy="56118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1	Select Format Series Lines to add/remove trend lines</a:t>
            </a:r>
          </a:p>
          <a:p>
            <a:pPr marL="144000" indent="-144000" algn="l" eaLnBrk="0" hangingPunct="0">
              <a:spcBef>
                <a:spcPts val="100"/>
              </a:spcBef>
              <a:spcAft>
                <a:spcPts val="100"/>
              </a:spcAft>
              <a:tabLst>
                <a:tab pos="192088" algn="l"/>
              </a:tabLst>
            </a:pPr>
            <a:r>
              <a:rPr lang="en-US" sz="1000" dirty="0">
                <a:solidFill>
                  <a:schemeClr val="tx1"/>
                </a:solidFill>
              </a:rPr>
              <a:t>2	Add legend names manually</a:t>
            </a:r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5183131"/>
              </p:ext>
            </p:extLst>
          </p:nvPr>
        </p:nvGraphicFramePr>
        <p:xfrm>
          <a:off x="0" y="1484784"/>
          <a:ext cx="9398662" cy="4441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Sub-divided 100% Bar Char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6553231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8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Waterfall chart 1</a:t>
            </a:r>
            <a:endParaRPr lang="en-US" sz="2400" b="1" dirty="0"/>
          </a:p>
        </p:txBody>
      </p:sp>
      <p:graphicFrame>
        <p:nvGraphicFramePr>
          <p:cNvPr id="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6918863"/>
              </p:ext>
            </p:extLst>
          </p:nvPr>
        </p:nvGraphicFramePr>
        <p:xfrm>
          <a:off x="471929" y="1304926"/>
          <a:ext cx="9009168" cy="3787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0581" name="AcnFootnote_ID_28058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7595" y="5176292"/>
            <a:ext cx="8886808" cy="12054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82563" indent="-182563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Calculate and enter the value corresponding to the area below the column in the row marked "Space"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Enter the height of the column in the row marked "Column" row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Add/remove columns and rows as required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4	Add series lines between the columns manually, if required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5	To change the height of the columns select Chart Options and turn on the y-axis, then use Format Axis/Scale to set the length of the y-axis (check the “Automatic” button). Once the scale is set, use Chart Options again to remove the y-axis</a:t>
            </a:r>
          </a:p>
        </p:txBody>
      </p:sp>
    </p:spTree>
    <p:extLst>
      <p:ext uri="{BB962C8B-B14F-4D97-AF65-F5344CB8AC3E}">
        <p14:creationId xmlns:p14="http://schemas.microsoft.com/office/powerpoint/2010/main" val="36971760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96653"/>
            <a:ext cx="9526956" cy="298327"/>
          </a:xfrm>
        </p:spPr>
        <p:txBody>
          <a:bodyPr>
            <a:noAutofit/>
          </a:bodyPr>
          <a:lstStyle/>
          <a:p>
            <a:pPr algn="l"/>
            <a:r>
              <a:rPr lang="en-US" sz="2400" b="1" dirty="0" smtClean="0"/>
              <a:t>Waterfall chart 2</a:t>
            </a:r>
            <a:endParaRPr lang="en-US" sz="2400" b="1" dirty="0"/>
          </a:p>
        </p:txBody>
      </p:sp>
      <p:graphicFrame>
        <p:nvGraphicFramePr>
          <p:cNvPr id="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187607"/>
              </p:ext>
            </p:extLst>
          </p:nvPr>
        </p:nvGraphicFramePr>
        <p:xfrm>
          <a:off x="421799" y="1378992"/>
          <a:ext cx="9058142" cy="3797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1605" name="AcnFootnote_ID_2816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7340" y="5176292"/>
            <a:ext cx="8887063" cy="12054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b="1" dirty="0">
                <a:solidFill>
                  <a:schemeClr val="tx1"/>
                </a:solidFill>
              </a:rPr>
              <a:t>Hints: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1	Calculate and enter the value corresponding to the area below the column in the row marked "Space"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2	Enter the height of the column in the row marked "Column" row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3	Add/remove columns and rows as required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4	Add series lines between the columns manually, if required</a:t>
            </a:r>
          </a:p>
          <a:p>
            <a:pPr marL="144000" indent="-144000" algn="l"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Pct val="100000"/>
              <a:buFont typeface="Arial" charset="0"/>
              <a:buNone/>
            </a:pPr>
            <a:r>
              <a:rPr lang="en-US" sz="1000" dirty="0">
                <a:solidFill>
                  <a:schemeClr val="tx1"/>
                </a:solidFill>
              </a:rPr>
              <a:t>5	To change the height of the columns select Chart Options and turn on the y-axis, then use Format Axis/Scale to set the length of the y-axis (check the “Automatic” button). Once the scale is set, use Chart Options again to remove the y-axis</a:t>
            </a:r>
          </a:p>
        </p:txBody>
      </p:sp>
    </p:spTree>
    <p:extLst>
      <p:ext uri="{BB962C8B-B14F-4D97-AF65-F5344CB8AC3E}">
        <p14:creationId xmlns:p14="http://schemas.microsoft.com/office/powerpoint/2010/main" val="334818145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7:38: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40:0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44:0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7:23:4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XqyFj76EWpYbg5FDS_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TAJ_Ni_ECuKkFe9QCJ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EhyI852UydD4bYLg3n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itjyhWUk.zFpD1cXs0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lZB4F9xkGRFX0Idxsh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p3xJEXgE2ch5X_h2SX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7:39:2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utu9MkrkCPvoZO6FFN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kcdKsNe0SdW_f_HJnL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23:48"/>
  <p:tag name="THINKCELLSHAPEDONOTDELETE" val="pYcepoR5XoEGVHzZKybw8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25:2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30: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07.01.2010 16:32:5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1</TotalTime>
  <Words>538</Words>
  <Application>Microsoft Macintosh PowerPoint</Application>
  <PresentationFormat>A4 Paper (210x297 mm)</PresentationFormat>
  <Paragraphs>430</Paragraphs>
  <Slides>39</Slides>
  <Notes>2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Office Theme</vt:lpstr>
      <vt:lpstr>think-cell Slide</vt:lpstr>
      <vt:lpstr>PowerPoint Presentation</vt:lpstr>
      <vt:lpstr>PowerPoint Presentation</vt:lpstr>
      <vt:lpstr>Deviation Bar Chart</vt:lpstr>
      <vt:lpstr>Range Bar Chart</vt:lpstr>
      <vt:lpstr>Sliding Bar Chart</vt:lpstr>
      <vt:lpstr>Sub-divided Bar Chart</vt:lpstr>
      <vt:lpstr>Sub-divided 100% Bar Chart</vt:lpstr>
      <vt:lpstr>Waterfall chart 1</vt:lpstr>
      <vt:lpstr>Waterfall chart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s impactful presentations</dc:title>
  <dc:creator>Steven</dc:creator>
  <cp:lastModifiedBy>Winda Yong</cp:lastModifiedBy>
  <cp:revision>228</cp:revision>
  <dcterms:created xsi:type="dcterms:W3CDTF">2016-08-31T09:31:56Z</dcterms:created>
  <dcterms:modified xsi:type="dcterms:W3CDTF">2017-12-23T11:36:07Z</dcterms:modified>
</cp:coreProperties>
</file>